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1"/>
  </p:sldMasterIdLst>
  <p:notesMasterIdLst>
    <p:notesMasterId r:id="rId18"/>
  </p:notesMasterIdLst>
  <p:handoutMasterIdLst>
    <p:handoutMasterId r:id="rId19"/>
  </p:handoutMasterIdLst>
  <p:sldIdLst>
    <p:sldId id="256" r:id="rId2"/>
    <p:sldId id="261" r:id="rId3"/>
    <p:sldId id="262" r:id="rId4"/>
    <p:sldId id="266" r:id="rId5"/>
    <p:sldId id="264" r:id="rId6"/>
    <p:sldId id="267" r:id="rId7"/>
    <p:sldId id="268" r:id="rId8"/>
    <p:sldId id="269" r:id="rId9"/>
    <p:sldId id="270" r:id="rId10"/>
    <p:sldId id="271" r:id="rId11"/>
    <p:sldId id="275" r:id="rId12"/>
    <p:sldId id="276" r:id="rId13"/>
    <p:sldId id="273" r:id="rId14"/>
    <p:sldId id="274" r:id="rId15"/>
    <p:sldId id="277" r:id="rId16"/>
    <p:sldId id="278" r:id="rId17"/>
  </p:sldIdLst>
  <p:sldSz cx="7561263" cy="5329238"/>
  <p:notesSz cx="6797675" cy="9982200"/>
  <p:custDataLst>
    <p:tags r:id="rId20"/>
  </p:custDataLst>
  <p:defaultTextStyle>
    <a:defPPr>
      <a:defRPr lang="de-DE"/>
    </a:defPPr>
    <a:lvl1pPr algn="l" rtl="0" fontAlgn="base">
      <a:spcBef>
        <a:spcPct val="0"/>
      </a:spcBef>
      <a:spcAft>
        <a:spcPct val="0"/>
      </a:spcAft>
      <a:defRPr sz="1100" kern="1200">
        <a:solidFill>
          <a:schemeClr val="tx1"/>
        </a:solidFill>
        <a:latin typeface="Arial" charset="0"/>
        <a:ea typeface="+mn-ea"/>
        <a:cs typeface="+mn-cs"/>
      </a:defRPr>
    </a:lvl1pPr>
    <a:lvl2pPr marL="368275" algn="l" rtl="0" fontAlgn="base">
      <a:spcBef>
        <a:spcPct val="0"/>
      </a:spcBef>
      <a:spcAft>
        <a:spcPct val="0"/>
      </a:spcAft>
      <a:defRPr sz="1100" kern="1200">
        <a:solidFill>
          <a:schemeClr val="tx1"/>
        </a:solidFill>
        <a:latin typeface="Arial" charset="0"/>
        <a:ea typeface="+mn-ea"/>
        <a:cs typeface="+mn-cs"/>
      </a:defRPr>
    </a:lvl2pPr>
    <a:lvl3pPr marL="736549" algn="l" rtl="0" fontAlgn="base">
      <a:spcBef>
        <a:spcPct val="0"/>
      </a:spcBef>
      <a:spcAft>
        <a:spcPct val="0"/>
      </a:spcAft>
      <a:defRPr sz="1100" kern="1200">
        <a:solidFill>
          <a:schemeClr val="tx1"/>
        </a:solidFill>
        <a:latin typeface="Arial" charset="0"/>
        <a:ea typeface="+mn-ea"/>
        <a:cs typeface="+mn-cs"/>
      </a:defRPr>
    </a:lvl3pPr>
    <a:lvl4pPr marL="1104824" algn="l" rtl="0" fontAlgn="base">
      <a:spcBef>
        <a:spcPct val="0"/>
      </a:spcBef>
      <a:spcAft>
        <a:spcPct val="0"/>
      </a:spcAft>
      <a:defRPr sz="1100" kern="1200">
        <a:solidFill>
          <a:schemeClr val="tx1"/>
        </a:solidFill>
        <a:latin typeface="Arial" charset="0"/>
        <a:ea typeface="+mn-ea"/>
        <a:cs typeface="+mn-cs"/>
      </a:defRPr>
    </a:lvl4pPr>
    <a:lvl5pPr marL="1473098" algn="l" rtl="0" fontAlgn="base">
      <a:spcBef>
        <a:spcPct val="0"/>
      </a:spcBef>
      <a:spcAft>
        <a:spcPct val="0"/>
      </a:spcAft>
      <a:defRPr sz="1100" kern="1200">
        <a:solidFill>
          <a:schemeClr val="tx1"/>
        </a:solidFill>
        <a:latin typeface="Arial" charset="0"/>
        <a:ea typeface="+mn-ea"/>
        <a:cs typeface="+mn-cs"/>
      </a:defRPr>
    </a:lvl5pPr>
    <a:lvl6pPr marL="1841373" algn="l" defTabSz="736549" rtl="0" eaLnBrk="1" latinLnBrk="0" hangingPunct="1">
      <a:defRPr sz="1100" kern="1200">
        <a:solidFill>
          <a:schemeClr val="tx1"/>
        </a:solidFill>
        <a:latin typeface="Arial" charset="0"/>
        <a:ea typeface="+mn-ea"/>
        <a:cs typeface="+mn-cs"/>
      </a:defRPr>
    </a:lvl6pPr>
    <a:lvl7pPr marL="2209648" algn="l" defTabSz="736549" rtl="0" eaLnBrk="1" latinLnBrk="0" hangingPunct="1">
      <a:defRPr sz="1100" kern="1200">
        <a:solidFill>
          <a:schemeClr val="tx1"/>
        </a:solidFill>
        <a:latin typeface="Arial" charset="0"/>
        <a:ea typeface="+mn-ea"/>
        <a:cs typeface="+mn-cs"/>
      </a:defRPr>
    </a:lvl7pPr>
    <a:lvl8pPr marL="2577922" algn="l" defTabSz="736549" rtl="0" eaLnBrk="1" latinLnBrk="0" hangingPunct="1">
      <a:defRPr sz="1100" kern="1200">
        <a:solidFill>
          <a:schemeClr val="tx1"/>
        </a:solidFill>
        <a:latin typeface="Arial" charset="0"/>
        <a:ea typeface="+mn-ea"/>
        <a:cs typeface="+mn-cs"/>
      </a:defRPr>
    </a:lvl8pPr>
    <a:lvl9pPr marL="2946197" algn="l" defTabSz="736549" rtl="0" eaLnBrk="1" latinLnBrk="0" hangingPunct="1">
      <a:defRPr sz="11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Standardabschnitt" id="{660202CD-DDE9-4953-B0B0-2F976D8B9F43}">
          <p14:sldIdLst>
            <p14:sldId id="256"/>
            <p14:sldId id="261"/>
            <p14:sldId id="262"/>
            <p14:sldId id="266"/>
            <p14:sldId id="264"/>
            <p14:sldId id="267"/>
            <p14:sldId id="268"/>
            <p14:sldId id="269"/>
          </p14:sldIdLst>
        </p14:section>
        <p14:section name="Abschnitt ohne Titel" id="{4C7D4957-512B-4564-9EE8-7E574BAB15DF}">
          <p14:sldIdLst>
            <p14:sldId id="270"/>
            <p14:sldId id="271"/>
            <p14:sldId id="275"/>
            <p14:sldId id="276"/>
            <p14:sldId id="273"/>
            <p14:sldId id="274"/>
            <p14:sldId id="277"/>
            <p14:sldId id="278"/>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7D95DDBC-5C31-40A9-B56D-BDF15E579DC0}">
  <a:tblStyle styleId="{7D95DDBC-5C31-40A9-B56D-BDF15E579DC0}" styleName="BERENBERG">
    <a:wholeTbl>
      <a:tcTxStyle>
        <a:fontRef idx="minor">
          <a:prstClr val="black"/>
        </a:fontRef>
        <a:schemeClr val="dk1"/>
      </a:tcTxStyle>
      <a:tcStyle>
        <a:tcBdr>
          <a:left>
            <a:ln>
              <a:noFill/>
            </a:ln>
          </a:left>
          <a:right>
            <a:ln>
              <a:noFill/>
            </a:ln>
          </a:right>
          <a:top>
            <a:ln w="6350" cmpd="sng">
              <a:solidFill>
                <a:schemeClr val="accent6"/>
              </a:solidFill>
              <a:prstDash val="dash"/>
            </a:ln>
          </a:top>
          <a:bottom>
            <a:ln w="6350" cmpd="sng">
              <a:solidFill>
                <a:schemeClr val="accent6"/>
              </a:solidFill>
              <a:prstDash val="dash"/>
            </a:ln>
          </a:bottom>
          <a:insideH>
            <a:ln w="6350" cmpd="sng">
              <a:solidFill>
                <a:schemeClr val="accent6"/>
              </a:solidFill>
              <a:prstDash val="dash"/>
            </a:ln>
          </a:insideH>
          <a:insideV>
            <a:ln>
              <a:noFill/>
            </a:ln>
          </a:insideV>
        </a:tcBdr>
        <a:fill>
          <a:noFill/>
        </a:fill>
      </a:tcStyle>
    </a:wholeTbl>
    <a:lastCol>
      <a:tcTxStyle>
        <a:fontRef idx="minor">
          <a:prstClr val="black"/>
        </a:fontRef>
        <a:schemeClr val="dk1"/>
      </a:tcTxStyle>
      <a:tcStyle>
        <a:tcBdr/>
        <a:fill>
          <a:solidFill>
            <a:srgbClr val="EDECEB"/>
          </a:solidFill>
        </a:fill>
      </a:tcStyle>
    </a:lastCol>
    <a:firstCol>
      <a:tcTxStyle>
        <a:fontRef idx="minor">
          <a:prstClr val="black"/>
        </a:fontRef>
        <a:schemeClr val="dk1"/>
      </a:tcTxStyle>
      <a:tcStyle>
        <a:tcBdr/>
        <a:fill>
          <a:solidFill>
            <a:srgbClr val="EDECEB"/>
          </a:solidFill>
        </a:fill>
      </a:tcStyle>
    </a:firstCol>
    <a:lastRow>
      <a:tcTxStyle b="on">
        <a:fontRef idx="minor">
          <a:prstClr val="black"/>
        </a:fontRef>
        <a:schemeClr val="dk2"/>
      </a:tcTxStyle>
      <a:tcStyle>
        <a:tcBdr>
          <a:top>
            <a:ln w="6350" cmpd="sng">
              <a:solidFill>
                <a:schemeClr val="dk2"/>
              </a:solidFill>
            </a:ln>
          </a:top>
          <a:bottom>
            <a:ln w="6350" cmpd="sng">
              <a:solidFill>
                <a:schemeClr val="dk2"/>
              </a:solidFill>
            </a:ln>
          </a:bottom>
        </a:tcBdr>
      </a:tcStyle>
    </a:lastRow>
    <a:firstRow>
      <a:tcTxStyle>
        <a:fontRef idx="minor">
          <a:prstClr val="white"/>
        </a:fontRef>
        <a:schemeClr val="lt1"/>
      </a:tcTxStyle>
      <a:tcStyle>
        <a:tcBdr/>
        <a:fill>
          <a:solidFill>
            <a:schemeClr val="accent1"/>
          </a:solidFill>
        </a:fill>
      </a:tcStyle>
    </a:firstRow>
  </a:tblStyle>
  <a:tblStyle styleId="{1FECB4D8-DB02-4DC6-A0A2-4F2EBAE1DC90}" styleName="Mittlere Formatvorlage 1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horzBarState="maximized">
    <p:restoredLeft sz="13030" autoAdjust="0"/>
    <p:restoredTop sz="94660"/>
  </p:normalViewPr>
  <p:slideViewPr>
    <p:cSldViewPr showGuides="1">
      <p:cViewPr varScale="1">
        <p:scale>
          <a:sx n="176" d="100"/>
          <a:sy n="176" d="100"/>
        </p:scale>
        <p:origin x="-108" y="-150"/>
      </p:cViewPr>
      <p:guideLst>
        <p:guide orient="horz" pos="635"/>
        <p:guide orient="horz" pos="3084"/>
        <p:guide pos="113"/>
        <p:guide pos="3515"/>
        <p:guide pos="3696"/>
        <p:guide pos="4649"/>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p:scale>
          <a:sx n="75" d="100"/>
          <a:sy n="75" d="100"/>
        </p:scale>
        <p:origin x="-3888" y="-672"/>
      </p:cViewPr>
      <p:guideLst>
        <p:guide orient="horz" pos="3193"/>
        <p:guide pos="343"/>
        <p:guide pos="393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27"/>
    </mc:Choice>
    <mc:Fallback>
      <c:style val="27"/>
    </mc:Fallback>
  </mc:AlternateContent>
  <c:chart>
    <c:autoTitleDeleted val="1"/>
    <c:plotArea>
      <c:layout/>
      <c:pieChart>
        <c:varyColors val="1"/>
        <c:ser>
          <c:idx val="0"/>
          <c:order val="0"/>
          <c:tx>
            <c:strRef>
              <c:f>Tabelle1!$B$1</c:f>
              <c:strCache>
                <c:ptCount val="1"/>
                <c:pt idx="0">
                  <c:v>Verkauf</c:v>
                </c:pt>
              </c:strCache>
            </c:strRef>
          </c:tx>
          <c:dLbls>
            <c:showLegendKey val="0"/>
            <c:showVal val="0"/>
            <c:showCatName val="0"/>
            <c:showSerName val="0"/>
            <c:showPercent val="1"/>
            <c:showBubbleSize val="0"/>
            <c:showLeaderLines val="1"/>
          </c:dLbls>
          <c:cat>
            <c:strRef>
              <c:f>Tabelle1!$A$2:$A$7</c:f>
              <c:strCache>
                <c:ptCount val="6"/>
                <c:pt idx="0">
                  <c:v>1. Analyse</c:v>
                </c:pt>
                <c:pt idx="1">
                  <c:v>2. Entwurf</c:v>
                </c:pt>
                <c:pt idx="2">
                  <c:v>3. Realisierung</c:v>
                </c:pt>
                <c:pt idx="3">
                  <c:v>4. Test</c:v>
                </c:pt>
                <c:pt idx="4">
                  <c:v>5. Refactoring</c:v>
                </c:pt>
                <c:pt idx="5">
                  <c:v>6. Dokumentation</c:v>
                </c:pt>
              </c:strCache>
            </c:strRef>
          </c:cat>
          <c:val>
            <c:numRef>
              <c:f>Tabelle1!$B$2:$B$7</c:f>
              <c:numCache>
                <c:formatCode>General</c:formatCode>
                <c:ptCount val="6"/>
                <c:pt idx="0">
                  <c:v>0.85699999999999998</c:v>
                </c:pt>
                <c:pt idx="1">
                  <c:v>1.286</c:v>
                </c:pt>
                <c:pt idx="2">
                  <c:v>5.5709999999999997</c:v>
                </c:pt>
                <c:pt idx="3">
                  <c:v>0.56140000000000001</c:v>
                </c:pt>
                <c:pt idx="4">
                  <c:v>0.28570000000000001</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59847148736037625"/>
          <c:y val="0.14842145415888267"/>
          <c:w val="0.38741916519694297"/>
          <c:h val="0.80061742065601849"/>
        </c:manualLayout>
      </c:layout>
      <c:overlay val="0"/>
    </c:legend>
    <c:plotVisOnly val="1"/>
    <c:dispBlanksAs val="gap"/>
    <c:showDLblsOverMax val="0"/>
  </c:chart>
  <c:txPr>
    <a:bodyPr/>
    <a:lstStyle/>
    <a:p>
      <a:pPr>
        <a:defRPr sz="1800"/>
      </a:pPr>
      <a:endParaRPr lang="de-DE"/>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83A8F5-022A-4E5D-8F5C-39859BDF096D}"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de-DE"/>
        </a:p>
      </dgm:t>
    </dgm:pt>
    <dgm:pt modelId="{EA27B156-E528-4B09-B9EC-22F635835718}">
      <dgm:prSet/>
      <dgm:spPr/>
      <dgm:t>
        <a:bodyPr/>
        <a:lstStyle/>
        <a:p>
          <a:pPr rtl="0"/>
          <a:r>
            <a:rPr lang="de-DE" dirty="0" smtClean="0"/>
            <a:t>Serversprache</a:t>
          </a:r>
          <a:endParaRPr lang="de-DE" dirty="0"/>
        </a:p>
      </dgm:t>
    </dgm:pt>
    <dgm:pt modelId="{44401E6B-DD01-4838-8E32-5666E25ECE58}" type="parTrans" cxnId="{CC666236-2FF7-4F78-AD6C-6F6D7E12FC5F}">
      <dgm:prSet/>
      <dgm:spPr/>
      <dgm:t>
        <a:bodyPr/>
        <a:lstStyle/>
        <a:p>
          <a:endParaRPr lang="de-DE"/>
        </a:p>
      </dgm:t>
    </dgm:pt>
    <dgm:pt modelId="{CE2B9292-5781-4FBD-971A-E1EC0F3B13B2}" type="sibTrans" cxnId="{CC666236-2FF7-4F78-AD6C-6F6D7E12FC5F}">
      <dgm:prSet/>
      <dgm:spPr/>
      <dgm:t>
        <a:bodyPr/>
        <a:lstStyle/>
        <a:p>
          <a:endParaRPr lang="de-DE"/>
        </a:p>
      </dgm:t>
    </dgm:pt>
    <dgm:pt modelId="{8808F21D-7721-47EF-AF01-23F98B39A999}">
      <dgm:prSet/>
      <dgm:spPr/>
      <dgm:t>
        <a:bodyPr/>
        <a:lstStyle/>
        <a:p>
          <a:pPr rtl="0"/>
          <a:r>
            <a:rPr lang="de-DE" smtClean="0"/>
            <a:t>C#</a:t>
          </a:r>
          <a:endParaRPr lang="de-DE"/>
        </a:p>
      </dgm:t>
    </dgm:pt>
    <dgm:pt modelId="{76EA8243-9304-4274-AFBB-1E5C2AB94722}" type="parTrans" cxnId="{6AC532F2-697F-4F19-B0FE-3118B2385C57}">
      <dgm:prSet/>
      <dgm:spPr/>
      <dgm:t>
        <a:bodyPr/>
        <a:lstStyle/>
        <a:p>
          <a:endParaRPr lang="de-DE"/>
        </a:p>
      </dgm:t>
    </dgm:pt>
    <dgm:pt modelId="{90C37CBF-5D71-4A91-858E-EAF8EBA6302D}" type="sibTrans" cxnId="{6AC532F2-697F-4F19-B0FE-3118B2385C57}">
      <dgm:prSet/>
      <dgm:spPr/>
      <dgm:t>
        <a:bodyPr/>
        <a:lstStyle/>
        <a:p>
          <a:endParaRPr lang="de-DE"/>
        </a:p>
      </dgm:t>
    </dgm:pt>
    <dgm:pt modelId="{74526D66-827E-412C-8995-E35A7AF7D28C}">
      <dgm:prSet/>
      <dgm:spPr/>
      <dgm:t>
        <a:bodyPr/>
        <a:lstStyle/>
        <a:p>
          <a:pPr rtl="0"/>
          <a:r>
            <a:rPr lang="de-DE" b="0" dirty="0" smtClean="0"/>
            <a:t>HTML</a:t>
          </a:r>
          <a:endParaRPr lang="de-DE" dirty="0"/>
        </a:p>
      </dgm:t>
    </dgm:pt>
    <dgm:pt modelId="{25A66D5F-0CAD-4DF3-8B47-E408BA1FE576}" type="parTrans" cxnId="{92C991CF-7651-44FB-A166-B69A35A3DFD3}">
      <dgm:prSet/>
      <dgm:spPr/>
      <dgm:t>
        <a:bodyPr/>
        <a:lstStyle/>
        <a:p>
          <a:endParaRPr lang="de-DE"/>
        </a:p>
      </dgm:t>
    </dgm:pt>
    <dgm:pt modelId="{763F8B80-9A7E-4D9B-8305-2668E6A534AD}" type="sibTrans" cxnId="{92C991CF-7651-44FB-A166-B69A35A3DFD3}">
      <dgm:prSet/>
      <dgm:spPr/>
      <dgm:t>
        <a:bodyPr/>
        <a:lstStyle/>
        <a:p>
          <a:endParaRPr lang="de-DE"/>
        </a:p>
      </dgm:t>
    </dgm:pt>
    <dgm:pt modelId="{9BCFC459-0FD1-4592-B58F-26B30C163AE5}">
      <dgm:prSet/>
      <dgm:spPr/>
      <dgm:t>
        <a:bodyPr/>
        <a:lstStyle/>
        <a:p>
          <a:pPr rtl="0"/>
          <a:r>
            <a:rPr lang="de-DE" b="0" dirty="0" smtClean="0"/>
            <a:t>CSS</a:t>
          </a:r>
          <a:endParaRPr lang="de-DE" dirty="0"/>
        </a:p>
      </dgm:t>
    </dgm:pt>
    <dgm:pt modelId="{B832FC32-BA40-43F0-9F62-B28198DDEFA7}" type="parTrans" cxnId="{09760ECB-A2A4-4BC5-8250-5EE31D3476AC}">
      <dgm:prSet/>
      <dgm:spPr/>
      <dgm:t>
        <a:bodyPr/>
        <a:lstStyle/>
        <a:p>
          <a:endParaRPr lang="de-DE"/>
        </a:p>
      </dgm:t>
    </dgm:pt>
    <dgm:pt modelId="{5A1F6D52-7F59-4792-97A8-C306BF3B9497}" type="sibTrans" cxnId="{09760ECB-A2A4-4BC5-8250-5EE31D3476AC}">
      <dgm:prSet/>
      <dgm:spPr/>
      <dgm:t>
        <a:bodyPr/>
        <a:lstStyle/>
        <a:p>
          <a:endParaRPr lang="de-DE"/>
        </a:p>
      </dgm:t>
    </dgm:pt>
    <dgm:pt modelId="{AF9936E2-44BA-45F8-B1CC-246534666FD2}">
      <dgm:prSet/>
      <dgm:spPr/>
      <dgm:t>
        <a:bodyPr/>
        <a:lstStyle/>
        <a:p>
          <a:pPr rtl="0"/>
          <a:r>
            <a:rPr lang="de-DE" b="0" dirty="0" smtClean="0"/>
            <a:t>JavaScript</a:t>
          </a:r>
        </a:p>
      </dgm:t>
    </dgm:pt>
    <dgm:pt modelId="{BCAB16C5-5837-491F-B634-E5B8CEFDC0A8}" type="parTrans" cxnId="{55BEA71D-7EC8-426D-B88F-DB9347DB8BD8}">
      <dgm:prSet/>
      <dgm:spPr/>
      <dgm:t>
        <a:bodyPr/>
        <a:lstStyle/>
        <a:p>
          <a:endParaRPr lang="de-DE"/>
        </a:p>
      </dgm:t>
    </dgm:pt>
    <dgm:pt modelId="{9C0F8B32-2EC6-45A6-9DB9-F4EEE249383E}" type="sibTrans" cxnId="{55BEA71D-7EC8-426D-B88F-DB9347DB8BD8}">
      <dgm:prSet/>
      <dgm:spPr/>
      <dgm:t>
        <a:bodyPr/>
        <a:lstStyle/>
        <a:p>
          <a:endParaRPr lang="de-DE"/>
        </a:p>
      </dgm:t>
    </dgm:pt>
    <dgm:pt modelId="{E34373BF-09F2-445B-90F6-47031347B19F}">
      <dgm:prSet/>
      <dgm:spPr/>
      <dgm:t>
        <a:bodyPr/>
        <a:lstStyle/>
        <a:p>
          <a:pPr rtl="0"/>
          <a:r>
            <a:rPr lang="de-DE" dirty="0" smtClean="0"/>
            <a:t>Client</a:t>
          </a:r>
          <a:endParaRPr lang="de-DE" dirty="0"/>
        </a:p>
      </dgm:t>
    </dgm:pt>
    <dgm:pt modelId="{B17E3FD5-1B3D-4E5B-B8EE-7B398951A55C}" type="parTrans" cxnId="{DF5EC36F-EF5B-456B-8CEA-434C9D35513C}">
      <dgm:prSet/>
      <dgm:spPr/>
      <dgm:t>
        <a:bodyPr/>
        <a:lstStyle/>
        <a:p>
          <a:endParaRPr lang="de-DE"/>
        </a:p>
      </dgm:t>
    </dgm:pt>
    <dgm:pt modelId="{4012B121-7670-4002-A9FD-CC657BF333DF}" type="sibTrans" cxnId="{DF5EC36F-EF5B-456B-8CEA-434C9D35513C}">
      <dgm:prSet/>
      <dgm:spPr/>
      <dgm:t>
        <a:bodyPr/>
        <a:lstStyle/>
        <a:p>
          <a:endParaRPr lang="de-DE"/>
        </a:p>
      </dgm:t>
    </dgm:pt>
    <dgm:pt modelId="{18BDC060-C08B-42CA-A2F0-C9AF10E407A3}">
      <dgm:prSet/>
      <dgm:spPr/>
      <dgm:t>
        <a:bodyPr/>
        <a:lstStyle/>
        <a:p>
          <a:pPr rtl="0"/>
          <a:r>
            <a:rPr lang="de-DE" dirty="0" smtClean="0"/>
            <a:t>ASP .NET MVC</a:t>
          </a:r>
          <a:endParaRPr lang="de-DE" dirty="0"/>
        </a:p>
      </dgm:t>
    </dgm:pt>
    <dgm:pt modelId="{1DB3584D-F679-4DD5-81EA-5FDB6ACD2B14}" type="parTrans" cxnId="{2E4F3750-B229-428A-B7D0-5A45268BBD96}">
      <dgm:prSet/>
      <dgm:spPr/>
      <dgm:t>
        <a:bodyPr/>
        <a:lstStyle/>
        <a:p>
          <a:endParaRPr lang="de-DE"/>
        </a:p>
      </dgm:t>
    </dgm:pt>
    <dgm:pt modelId="{6B17E484-B00A-4A8E-9EB7-F777A75B9D18}" type="sibTrans" cxnId="{2E4F3750-B229-428A-B7D0-5A45268BBD96}">
      <dgm:prSet/>
      <dgm:spPr/>
      <dgm:t>
        <a:bodyPr/>
        <a:lstStyle/>
        <a:p>
          <a:endParaRPr lang="de-DE"/>
        </a:p>
      </dgm:t>
    </dgm:pt>
    <dgm:pt modelId="{6E5BE6E3-48EA-4841-8DDE-29CDAC8F5D3A}">
      <dgm:prSet/>
      <dgm:spPr/>
      <dgm:t>
        <a:bodyPr/>
        <a:lstStyle/>
        <a:p>
          <a:r>
            <a:rPr lang="de-DE" b="0" dirty="0" err="1" smtClean="0"/>
            <a:t>JQuery</a:t>
          </a:r>
          <a:endParaRPr lang="de-DE" dirty="0"/>
        </a:p>
      </dgm:t>
    </dgm:pt>
    <dgm:pt modelId="{AD36171C-EA10-41B1-AD3D-51B757E0C19E}" type="parTrans" cxnId="{19B14700-C41A-4DE0-97A9-D6999D6F0DE6}">
      <dgm:prSet/>
      <dgm:spPr/>
      <dgm:t>
        <a:bodyPr/>
        <a:lstStyle/>
        <a:p>
          <a:endParaRPr lang="de-DE"/>
        </a:p>
      </dgm:t>
    </dgm:pt>
    <dgm:pt modelId="{4E2AC284-CECF-47A0-B541-3B335CF3FF4A}" type="sibTrans" cxnId="{19B14700-C41A-4DE0-97A9-D6999D6F0DE6}">
      <dgm:prSet/>
      <dgm:spPr/>
      <dgm:t>
        <a:bodyPr/>
        <a:lstStyle/>
        <a:p>
          <a:endParaRPr lang="de-DE"/>
        </a:p>
      </dgm:t>
    </dgm:pt>
    <dgm:pt modelId="{E90ABED0-7A94-4123-B2C6-996578B7331D}">
      <dgm:prSet/>
      <dgm:spPr/>
      <dgm:t>
        <a:bodyPr/>
        <a:lstStyle/>
        <a:p>
          <a:r>
            <a:rPr lang="de-DE" dirty="0" smtClean="0"/>
            <a:t>Frameworks/Bibliotheken</a:t>
          </a:r>
          <a:endParaRPr lang="de-DE" dirty="0"/>
        </a:p>
      </dgm:t>
    </dgm:pt>
    <dgm:pt modelId="{6EC30ED3-6B46-46F5-874D-CFE4D63468B6}" type="parTrans" cxnId="{6926C300-965E-48A5-BCF5-CA959780BDFB}">
      <dgm:prSet/>
      <dgm:spPr/>
      <dgm:t>
        <a:bodyPr/>
        <a:lstStyle/>
        <a:p>
          <a:endParaRPr lang="de-DE"/>
        </a:p>
      </dgm:t>
    </dgm:pt>
    <dgm:pt modelId="{D1206DD6-F55A-4314-80EF-C2ADE02524B8}" type="sibTrans" cxnId="{6926C300-965E-48A5-BCF5-CA959780BDFB}">
      <dgm:prSet/>
      <dgm:spPr/>
      <dgm:t>
        <a:bodyPr/>
        <a:lstStyle/>
        <a:p>
          <a:endParaRPr lang="de-DE"/>
        </a:p>
      </dgm:t>
    </dgm:pt>
    <dgm:pt modelId="{8171A046-A3A2-4BFB-B3CF-B7BEA0F2DF30}">
      <dgm:prSet/>
      <dgm:spPr/>
      <dgm:t>
        <a:bodyPr/>
        <a:lstStyle/>
        <a:p>
          <a:pPr rtl="0"/>
          <a:r>
            <a:rPr lang="de-DE" dirty="0" smtClean="0"/>
            <a:t>SignalR</a:t>
          </a:r>
          <a:endParaRPr lang="de-DE" dirty="0"/>
        </a:p>
      </dgm:t>
    </dgm:pt>
    <dgm:pt modelId="{F0C8FDF8-CAF2-44D4-9ECA-07E048DF80A5}" type="parTrans" cxnId="{52BB5CAD-EAC4-415A-B9CA-5AEB96FD2562}">
      <dgm:prSet/>
      <dgm:spPr/>
      <dgm:t>
        <a:bodyPr/>
        <a:lstStyle/>
        <a:p>
          <a:endParaRPr lang="de-DE"/>
        </a:p>
      </dgm:t>
    </dgm:pt>
    <dgm:pt modelId="{110F5F71-EFE3-40C2-8E9A-D05D5D29040F}" type="sibTrans" cxnId="{52BB5CAD-EAC4-415A-B9CA-5AEB96FD2562}">
      <dgm:prSet/>
      <dgm:spPr/>
      <dgm:t>
        <a:bodyPr/>
        <a:lstStyle/>
        <a:p>
          <a:endParaRPr lang="de-DE"/>
        </a:p>
      </dgm:t>
    </dgm:pt>
    <dgm:pt modelId="{7D5B93BB-7619-4395-8FA0-478A309EE86C}">
      <dgm:prSet/>
      <dgm:spPr/>
      <dgm:t>
        <a:bodyPr/>
        <a:lstStyle/>
        <a:p>
          <a:pPr rtl="0"/>
          <a:r>
            <a:rPr lang="de-DE" dirty="0" err="1" smtClean="0"/>
            <a:t>Entity</a:t>
          </a:r>
          <a:r>
            <a:rPr lang="de-DE" dirty="0" smtClean="0"/>
            <a:t> Framework</a:t>
          </a:r>
        </a:p>
      </dgm:t>
    </dgm:pt>
    <dgm:pt modelId="{16CD8F3C-5EBC-4624-941E-4E73F0C0BDE7}" type="parTrans" cxnId="{C6B6BF7A-92D9-4A75-A430-1B49EA38B7CD}">
      <dgm:prSet/>
      <dgm:spPr/>
      <dgm:t>
        <a:bodyPr/>
        <a:lstStyle/>
        <a:p>
          <a:endParaRPr lang="de-DE"/>
        </a:p>
      </dgm:t>
    </dgm:pt>
    <dgm:pt modelId="{F3C36569-CE00-495A-A612-D14EC6CFBD24}" type="sibTrans" cxnId="{C6B6BF7A-92D9-4A75-A430-1B49EA38B7CD}">
      <dgm:prSet/>
      <dgm:spPr/>
      <dgm:t>
        <a:bodyPr/>
        <a:lstStyle/>
        <a:p>
          <a:endParaRPr lang="de-DE"/>
        </a:p>
      </dgm:t>
    </dgm:pt>
    <dgm:pt modelId="{4AE18B56-44B5-44D0-A8ED-AA9A68102136}">
      <dgm:prSet/>
      <dgm:spPr/>
      <dgm:t>
        <a:bodyPr/>
        <a:lstStyle/>
        <a:p>
          <a:r>
            <a:rPr lang="de-DE" dirty="0" smtClean="0"/>
            <a:t>Frameworks/Bibliotheken</a:t>
          </a:r>
          <a:endParaRPr lang="de-DE" dirty="0"/>
        </a:p>
      </dgm:t>
    </dgm:pt>
    <dgm:pt modelId="{99379F97-E8D0-42F3-A19B-91CE725D676C}" type="parTrans" cxnId="{D64B9DF3-D970-4B11-ADBC-F4543A4C6CC0}">
      <dgm:prSet/>
      <dgm:spPr/>
      <dgm:t>
        <a:bodyPr/>
        <a:lstStyle/>
        <a:p>
          <a:endParaRPr lang="de-DE"/>
        </a:p>
      </dgm:t>
    </dgm:pt>
    <dgm:pt modelId="{DF57BCC3-6980-4925-9882-4302F12A7587}" type="sibTrans" cxnId="{D64B9DF3-D970-4B11-ADBC-F4543A4C6CC0}">
      <dgm:prSet/>
      <dgm:spPr/>
      <dgm:t>
        <a:bodyPr/>
        <a:lstStyle/>
        <a:p>
          <a:endParaRPr lang="de-DE"/>
        </a:p>
      </dgm:t>
    </dgm:pt>
    <dgm:pt modelId="{EABA1B2C-AD50-47F3-8E5F-66A5B18793F7}">
      <dgm:prSet/>
      <dgm:spPr/>
      <dgm:t>
        <a:bodyPr/>
        <a:lstStyle/>
        <a:p>
          <a:r>
            <a:rPr lang="de-DE" b="0" smtClean="0"/>
            <a:t>KendoUI</a:t>
          </a:r>
          <a:endParaRPr lang="de-DE" dirty="0"/>
        </a:p>
      </dgm:t>
    </dgm:pt>
    <dgm:pt modelId="{A2565004-C316-4128-964E-2E58CC9053C4}" type="parTrans" cxnId="{54B4638C-540F-4FC7-AA3F-3CF14759DDAA}">
      <dgm:prSet/>
      <dgm:spPr/>
      <dgm:t>
        <a:bodyPr/>
        <a:lstStyle/>
        <a:p>
          <a:endParaRPr lang="de-DE"/>
        </a:p>
      </dgm:t>
    </dgm:pt>
    <dgm:pt modelId="{336A1792-8A42-4377-9A2C-165F473D9E74}" type="sibTrans" cxnId="{54B4638C-540F-4FC7-AA3F-3CF14759DDAA}">
      <dgm:prSet/>
      <dgm:spPr/>
      <dgm:t>
        <a:bodyPr/>
        <a:lstStyle/>
        <a:p>
          <a:endParaRPr lang="de-DE"/>
        </a:p>
      </dgm:t>
    </dgm:pt>
    <dgm:pt modelId="{CBD3A044-C4E2-41C8-AF7E-0EFE5ECBFF1E}" type="pres">
      <dgm:prSet presAssocID="{C683A8F5-022A-4E5D-8F5C-39859BDF096D}" presName="matrix" presStyleCnt="0">
        <dgm:presLayoutVars>
          <dgm:chMax val="1"/>
          <dgm:dir/>
          <dgm:resizeHandles val="exact"/>
        </dgm:presLayoutVars>
      </dgm:prSet>
      <dgm:spPr/>
    </dgm:pt>
    <dgm:pt modelId="{72190DED-6851-4A31-A999-D7F579123D32}" type="pres">
      <dgm:prSet presAssocID="{C683A8F5-022A-4E5D-8F5C-39859BDF096D}" presName="diamond" presStyleLbl="bgShp" presStyleIdx="0" presStyleCnt="1"/>
      <dgm:spPr/>
    </dgm:pt>
    <dgm:pt modelId="{7F10CADF-56ED-4709-935A-F3CF3574FB11}" type="pres">
      <dgm:prSet presAssocID="{C683A8F5-022A-4E5D-8F5C-39859BDF096D}" presName="quad1" presStyleLbl="node1" presStyleIdx="0" presStyleCnt="4">
        <dgm:presLayoutVars>
          <dgm:chMax val="0"/>
          <dgm:chPref val="0"/>
          <dgm:bulletEnabled val="1"/>
        </dgm:presLayoutVars>
      </dgm:prSet>
      <dgm:spPr/>
      <dgm:t>
        <a:bodyPr/>
        <a:lstStyle/>
        <a:p>
          <a:endParaRPr lang="de-DE"/>
        </a:p>
      </dgm:t>
    </dgm:pt>
    <dgm:pt modelId="{ADB5A918-E72C-48C8-AD32-61D1928001F6}" type="pres">
      <dgm:prSet presAssocID="{C683A8F5-022A-4E5D-8F5C-39859BDF096D}" presName="quad2" presStyleLbl="node1" presStyleIdx="1" presStyleCnt="4">
        <dgm:presLayoutVars>
          <dgm:chMax val="0"/>
          <dgm:chPref val="0"/>
          <dgm:bulletEnabled val="1"/>
        </dgm:presLayoutVars>
      </dgm:prSet>
      <dgm:spPr/>
      <dgm:t>
        <a:bodyPr/>
        <a:lstStyle/>
        <a:p>
          <a:endParaRPr lang="de-DE"/>
        </a:p>
      </dgm:t>
    </dgm:pt>
    <dgm:pt modelId="{95757323-9BD2-40DD-805A-1A6D5785594D}" type="pres">
      <dgm:prSet presAssocID="{C683A8F5-022A-4E5D-8F5C-39859BDF096D}" presName="quad3" presStyleLbl="node1" presStyleIdx="2" presStyleCnt="4">
        <dgm:presLayoutVars>
          <dgm:chMax val="0"/>
          <dgm:chPref val="0"/>
          <dgm:bulletEnabled val="1"/>
        </dgm:presLayoutVars>
      </dgm:prSet>
      <dgm:spPr/>
      <dgm:t>
        <a:bodyPr/>
        <a:lstStyle/>
        <a:p>
          <a:endParaRPr lang="de-DE"/>
        </a:p>
      </dgm:t>
    </dgm:pt>
    <dgm:pt modelId="{56090CEE-32E3-464B-AC5C-9EFBAFAFD4A5}" type="pres">
      <dgm:prSet presAssocID="{C683A8F5-022A-4E5D-8F5C-39859BDF096D}" presName="quad4" presStyleLbl="node1" presStyleIdx="3" presStyleCnt="4">
        <dgm:presLayoutVars>
          <dgm:chMax val="0"/>
          <dgm:chPref val="0"/>
          <dgm:bulletEnabled val="1"/>
        </dgm:presLayoutVars>
      </dgm:prSet>
      <dgm:spPr/>
      <dgm:t>
        <a:bodyPr/>
        <a:lstStyle/>
        <a:p>
          <a:endParaRPr lang="de-DE"/>
        </a:p>
      </dgm:t>
    </dgm:pt>
  </dgm:ptLst>
  <dgm:cxnLst>
    <dgm:cxn modelId="{09760ECB-A2A4-4BC5-8250-5EE31D3476AC}" srcId="{E34373BF-09F2-445B-90F6-47031347B19F}" destId="{9BCFC459-0FD1-4592-B58F-26B30C163AE5}" srcOrd="1" destOrd="0" parTransId="{B832FC32-BA40-43F0-9F62-B28198DDEFA7}" sibTransId="{5A1F6D52-7F59-4792-97A8-C306BF3B9497}"/>
    <dgm:cxn modelId="{AF06151B-4EA6-4146-8CCF-1F0F645866F5}" type="presOf" srcId="{AF9936E2-44BA-45F8-B1CC-246534666FD2}" destId="{ADB5A918-E72C-48C8-AD32-61D1928001F6}" srcOrd="0" destOrd="3" presId="urn:microsoft.com/office/officeart/2005/8/layout/matrix3"/>
    <dgm:cxn modelId="{D64B9DF3-D970-4B11-ADBC-F4543A4C6CC0}" srcId="{C683A8F5-022A-4E5D-8F5C-39859BDF096D}" destId="{4AE18B56-44B5-44D0-A8ED-AA9A68102136}" srcOrd="3" destOrd="0" parTransId="{99379F97-E8D0-42F3-A19B-91CE725D676C}" sibTransId="{DF57BCC3-6980-4925-9882-4302F12A7587}"/>
    <dgm:cxn modelId="{93B92941-593D-48B5-BE6E-FD2DCF5906E7}" type="presOf" srcId="{7D5B93BB-7619-4395-8FA0-478A309EE86C}" destId="{95757323-9BD2-40DD-805A-1A6D5785594D}" srcOrd="0" destOrd="3" presId="urn:microsoft.com/office/officeart/2005/8/layout/matrix3"/>
    <dgm:cxn modelId="{5AC8BC79-F960-4D6C-9C81-6F953C8C6658}" type="presOf" srcId="{6E5BE6E3-48EA-4841-8DDE-29CDAC8F5D3A}" destId="{56090CEE-32E3-464B-AC5C-9EFBAFAFD4A5}" srcOrd="0" destOrd="1" presId="urn:microsoft.com/office/officeart/2005/8/layout/matrix3"/>
    <dgm:cxn modelId="{6AC532F2-697F-4F19-B0FE-3118B2385C57}" srcId="{EA27B156-E528-4B09-B9EC-22F635835718}" destId="{8808F21D-7721-47EF-AF01-23F98B39A999}" srcOrd="0" destOrd="0" parTransId="{76EA8243-9304-4274-AFBB-1E5C2AB94722}" sibTransId="{90C37CBF-5D71-4A91-858E-EAF8EBA6302D}"/>
    <dgm:cxn modelId="{2E4F3750-B229-428A-B7D0-5A45268BBD96}" srcId="{E90ABED0-7A94-4123-B2C6-996578B7331D}" destId="{18BDC060-C08B-42CA-A2F0-C9AF10E407A3}" srcOrd="0" destOrd="0" parTransId="{1DB3584D-F679-4DD5-81EA-5FDB6ACD2B14}" sibTransId="{6B17E484-B00A-4A8E-9EB7-F777A75B9D18}"/>
    <dgm:cxn modelId="{5FFB52E3-59BE-4ECC-B24C-0F8620D773B2}" type="presOf" srcId="{74526D66-827E-412C-8995-E35A7AF7D28C}" destId="{ADB5A918-E72C-48C8-AD32-61D1928001F6}" srcOrd="0" destOrd="1" presId="urn:microsoft.com/office/officeart/2005/8/layout/matrix3"/>
    <dgm:cxn modelId="{92C991CF-7651-44FB-A166-B69A35A3DFD3}" srcId="{E34373BF-09F2-445B-90F6-47031347B19F}" destId="{74526D66-827E-412C-8995-E35A7AF7D28C}" srcOrd="0" destOrd="0" parTransId="{25A66D5F-0CAD-4DF3-8B47-E408BA1FE576}" sibTransId="{763F8B80-9A7E-4D9B-8305-2668E6A534AD}"/>
    <dgm:cxn modelId="{CC666236-2FF7-4F78-AD6C-6F6D7E12FC5F}" srcId="{C683A8F5-022A-4E5D-8F5C-39859BDF096D}" destId="{EA27B156-E528-4B09-B9EC-22F635835718}" srcOrd="0" destOrd="0" parTransId="{44401E6B-DD01-4838-8E32-5666E25ECE58}" sibTransId="{CE2B9292-5781-4FBD-971A-E1EC0F3B13B2}"/>
    <dgm:cxn modelId="{DF5EC36F-EF5B-456B-8CEA-434C9D35513C}" srcId="{C683A8F5-022A-4E5D-8F5C-39859BDF096D}" destId="{E34373BF-09F2-445B-90F6-47031347B19F}" srcOrd="1" destOrd="0" parTransId="{B17E3FD5-1B3D-4E5B-B8EE-7B398951A55C}" sibTransId="{4012B121-7670-4002-A9FD-CC657BF333DF}"/>
    <dgm:cxn modelId="{45D7CF36-CE51-4C12-9B42-7EB0F99933A3}" type="presOf" srcId="{EA27B156-E528-4B09-B9EC-22F635835718}" destId="{7F10CADF-56ED-4709-935A-F3CF3574FB11}" srcOrd="0" destOrd="0" presId="urn:microsoft.com/office/officeart/2005/8/layout/matrix3"/>
    <dgm:cxn modelId="{55BEA71D-7EC8-426D-B88F-DB9347DB8BD8}" srcId="{E34373BF-09F2-445B-90F6-47031347B19F}" destId="{AF9936E2-44BA-45F8-B1CC-246534666FD2}" srcOrd="2" destOrd="0" parTransId="{BCAB16C5-5837-491F-B634-E5B8CEFDC0A8}" sibTransId="{9C0F8B32-2EC6-45A6-9DB9-F4EEE249383E}"/>
    <dgm:cxn modelId="{3AC8B1F6-8776-4AD6-978C-67CBAC6B5F4A}" type="presOf" srcId="{C683A8F5-022A-4E5D-8F5C-39859BDF096D}" destId="{CBD3A044-C4E2-41C8-AF7E-0EFE5ECBFF1E}" srcOrd="0" destOrd="0" presId="urn:microsoft.com/office/officeart/2005/8/layout/matrix3"/>
    <dgm:cxn modelId="{746BEB16-E107-4C69-871B-466CE11F4EAD}" type="presOf" srcId="{E90ABED0-7A94-4123-B2C6-996578B7331D}" destId="{95757323-9BD2-40DD-805A-1A6D5785594D}" srcOrd="0" destOrd="0" presId="urn:microsoft.com/office/officeart/2005/8/layout/matrix3"/>
    <dgm:cxn modelId="{5D04418B-9FC7-4F1D-B274-7083663A8FA6}" type="presOf" srcId="{8171A046-A3A2-4BFB-B3CF-B7BEA0F2DF30}" destId="{95757323-9BD2-40DD-805A-1A6D5785594D}" srcOrd="0" destOrd="2" presId="urn:microsoft.com/office/officeart/2005/8/layout/matrix3"/>
    <dgm:cxn modelId="{54B4638C-540F-4FC7-AA3F-3CF14759DDAA}" srcId="{4AE18B56-44B5-44D0-A8ED-AA9A68102136}" destId="{EABA1B2C-AD50-47F3-8E5F-66A5B18793F7}" srcOrd="1" destOrd="0" parTransId="{A2565004-C316-4128-964E-2E58CC9053C4}" sibTransId="{336A1792-8A42-4377-9A2C-165F473D9E74}"/>
    <dgm:cxn modelId="{ACC0E7DC-ADAC-4EEB-9602-5C04875A5166}" type="presOf" srcId="{9BCFC459-0FD1-4592-B58F-26B30C163AE5}" destId="{ADB5A918-E72C-48C8-AD32-61D1928001F6}" srcOrd="0" destOrd="2" presId="urn:microsoft.com/office/officeart/2005/8/layout/matrix3"/>
    <dgm:cxn modelId="{52BB5CAD-EAC4-415A-B9CA-5AEB96FD2562}" srcId="{E90ABED0-7A94-4123-B2C6-996578B7331D}" destId="{8171A046-A3A2-4BFB-B3CF-B7BEA0F2DF30}" srcOrd="1" destOrd="0" parTransId="{F0C8FDF8-CAF2-44D4-9ECA-07E048DF80A5}" sibTransId="{110F5F71-EFE3-40C2-8E9A-D05D5D29040F}"/>
    <dgm:cxn modelId="{19B14700-C41A-4DE0-97A9-D6999D6F0DE6}" srcId="{4AE18B56-44B5-44D0-A8ED-AA9A68102136}" destId="{6E5BE6E3-48EA-4841-8DDE-29CDAC8F5D3A}" srcOrd="0" destOrd="0" parTransId="{AD36171C-EA10-41B1-AD3D-51B757E0C19E}" sibTransId="{4E2AC284-CECF-47A0-B541-3B335CF3FF4A}"/>
    <dgm:cxn modelId="{962FD7B8-4310-44C5-9AD5-6F68738EF6E8}" type="presOf" srcId="{EABA1B2C-AD50-47F3-8E5F-66A5B18793F7}" destId="{56090CEE-32E3-464B-AC5C-9EFBAFAFD4A5}" srcOrd="0" destOrd="2" presId="urn:microsoft.com/office/officeart/2005/8/layout/matrix3"/>
    <dgm:cxn modelId="{C6B6BF7A-92D9-4A75-A430-1B49EA38B7CD}" srcId="{E90ABED0-7A94-4123-B2C6-996578B7331D}" destId="{7D5B93BB-7619-4395-8FA0-478A309EE86C}" srcOrd="2" destOrd="0" parTransId="{16CD8F3C-5EBC-4624-941E-4E73F0C0BDE7}" sibTransId="{F3C36569-CE00-495A-A612-D14EC6CFBD24}"/>
    <dgm:cxn modelId="{14594CF6-631A-4610-82BD-FC9977AFFAFE}" type="presOf" srcId="{18BDC060-C08B-42CA-A2F0-C9AF10E407A3}" destId="{95757323-9BD2-40DD-805A-1A6D5785594D}" srcOrd="0" destOrd="1" presId="urn:microsoft.com/office/officeart/2005/8/layout/matrix3"/>
    <dgm:cxn modelId="{6926C300-965E-48A5-BCF5-CA959780BDFB}" srcId="{C683A8F5-022A-4E5D-8F5C-39859BDF096D}" destId="{E90ABED0-7A94-4123-B2C6-996578B7331D}" srcOrd="2" destOrd="0" parTransId="{6EC30ED3-6B46-46F5-874D-CFE4D63468B6}" sibTransId="{D1206DD6-F55A-4314-80EF-C2ADE02524B8}"/>
    <dgm:cxn modelId="{18232E0B-95E7-46BB-9504-117DFEA8B105}" type="presOf" srcId="{E34373BF-09F2-445B-90F6-47031347B19F}" destId="{ADB5A918-E72C-48C8-AD32-61D1928001F6}" srcOrd="0" destOrd="0" presId="urn:microsoft.com/office/officeart/2005/8/layout/matrix3"/>
    <dgm:cxn modelId="{0D6A09E3-8A3A-4151-918E-E31992F3D9B7}" type="presOf" srcId="{8808F21D-7721-47EF-AF01-23F98B39A999}" destId="{7F10CADF-56ED-4709-935A-F3CF3574FB11}" srcOrd="0" destOrd="1" presId="urn:microsoft.com/office/officeart/2005/8/layout/matrix3"/>
    <dgm:cxn modelId="{59F81C2E-A84D-4560-AD36-EED93D854929}" type="presOf" srcId="{4AE18B56-44B5-44D0-A8ED-AA9A68102136}" destId="{56090CEE-32E3-464B-AC5C-9EFBAFAFD4A5}" srcOrd="0" destOrd="0" presId="urn:microsoft.com/office/officeart/2005/8/layout/matrix3"/>
    <dgm:cxn modelId="{6B3F0432-A376-4FA4-8C9E-0F04BAB327D3}" type="presParOf" srcId="{CBD3A044-C4E2-41C8-AF7E-0EFE5ECBFF1E}" destId="{72190DED-6851-4A31-A999-D7F579123D32}" srcOrd="0" destOrd="0" presId="urn:microsoft.com/office/officeart/2005/8/layout/matrix3"/>
    <dgm:cxn modelId="{97E58528-1A52-4E0E-87F3-0574A1170089}" type="presParOf" srcId="{CBD3A044-C4E2-41C8-AF7E-0EFE5ECBFF1E}" destId="{7F10CADF-56ED-4709-935A-F3CF3574FB11}" srcOrd="1" destOrd="0" presId="urn:microsoft.com/office/officeart/2005/8/layout/matrix3"/>
    <dgm:cxn modelId="{9BE7D492-CD92-4D7C-885E-21818D5BF27D}" type="presParOf" srcId="{CBD3A044-C4E2-41C8-AF7E-0EFE5ECBFF1E}" destId="{ADB5A918-E72C-48C8-AD32-61D1928001F6}" srcOrd="2" destOrd="0" presId="urn:microsoft.com/office/officeart/2005/8/layout/matrix3"/>
    <dgm:cxn modelId="{BBAE1C2C-ECA0-4167-BE31-A016575D097F}" type="presParOf" srcId="{CBD3A044-C4E2-41C8-AF7E-0EFE5ECBFF1E}" destId="{95757323-9BD2-40DD-805A-1A6D5785594D}" srcOrd="3" destOrd="0" presId="urn:microsoft.com/office/officeart/2005/8/layout/matrix3"/>
    <dgm:cxn modelId="{0D29F752-D488-47AD-A9B8-5CF33C3CF373}" type="presParOf" srcId="{CBD3A044-C4E2-41C8-AF7E-0EFE5ECBFF1E}" destId="{56090CEE-32E3-464B-AC5C-9EFBAFAFD4A5}" srcOrd="4" destOrd="0" presId="urn:microsoft.com/office/officeart/2005/8/layout/matrix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90DED-6851-4A31-A999-D7F579123D32}">
      <dsp:nvSpPr>
        <dsp:cNvPr id="0" name=""/>
        <dsp:cNvSpPr/>
      </dsp:nvSpPr>
      <dsp:spPr>
        <a:xfrm>
          <a:off x="756444" y="0"/>
          <a:ext cx="3887787" cy="3887787"/>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F10CADF-56ED-4709-935A-F3CF3574FB11}">
      <dsp:nvSpPr>
        <dsp:cNvPr id="0" name=""/>
        <dsp:cNvSpPr/>
      </dsp:nvSpPr>
      <dsp:spPr>
        <a:xfrm>
          <a:off x="1125783" y="369339"/>
          <a:ext cx="1516236" cy="15162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t" anchorCtr="0">
          <a:noAutofit/>
        </a:bodyPr>
        <a:lstStyle/>
        <a:p>
          <a:pPr lvl="0" algn="l" defTabSz="400050" rtl="0">
            <a:lnSpc>
              <a:spcPct val="90000"/>
            </a:lnSpc>
            <a:spcBef>
              <a:spcPct val="0"/>
            </a:spcBef>
            <a:spcAft>
              <a:spcPct val="35000"/>
            </a:spcAft>
          </a:pPr>
          <a:r>
            <a:rPr lang="de-DE" sz="900" kern="1200" dirty="0" smtClean="0"/>
            <a:t>Serversprache</a:t>
          </a:r>
          <a:endParaRPr lang="de-DE" sz="900" kern="1200" dirty="0"/>
        </a:p>
        <a:p>
          <a:pPr marL="57150" lvl="1" indent="-57150" algn="l" defTabSz="311150" rtl="0">
            <a:lnSpc>
              <a:spcPct val="90000"/>
            </a:lnSpc>
            <a:spcBef>
              <a:spcPct val="0"/>
            </a:spcBef>
            <a:spcAft>
              <a:spcPct val="15000"/>
            </a:spcAft>
            <a:buChar char="••"/>
          </a:pPr>
          <a:r>
            <a:rPr lang="de-DE" sz="700" kern="1200" smtClean="0"/>
            <a:t>C#</a:t>
          </a:r>
          <a:endParaRPr lang="de-DE" sz="700" kern="1200"/>
        </a:p>
      </dsp:txBody>
      <dsp:txXfrm>
        <a:off x="1199800" y="443356"/>
        <a:ext cx="1368202" cy="1368202"/>
      </dsp:txXfrm>
    </dsp:sp>
    <dsp:sp modelId="{ADB5A918-E72C-48C8-AD32-61D1928001F6}">
      <dsp:nvSpPr>
        <dsp:cNvPr id="0" name=""/>
        <dsp:cNvSpPr/>
      </dsp:nvSpPr>
      <dsp:spPr>
        <a:xfrm>
          <a:off x="2758654" y="369339"/>
          <a:ext cx="1516236" cy="15162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t" anchorCtr="0">
          <a:noAutofit/>
        </a:bodyPr>
        <a:lstStyle/>
        <a:p>
          <a:pPr lvl="0" algn="l" defTabSz="400050" rtl="0">
            <a:lnSpc>
              <a:spcPct val="90000"/>
            </a:lnSpc>
            <a:spcBef>
              <a:spcPct val="0"/>
            </a:spcBef>
            <a:spcAft>
              <a:spcPct val="35000"/>
            </a:spcAft>
          </a:pPr>
          <a:r>
            <a:rPr lang="de-DE" sz="900" kern="1200" dirty="0" smtClean="0"/>
            <a:t>Client</a:t>
          </a:r>
          <a:endParaRPr lang="de-DE" sz="900" kern="1200" dirty="0"/>
        </a:p>
        <a:p>
          <a:pPr marL="57150" lvl="1" indent="-57150" algn="l" defTabSz="311150" rtl="0">
            <a:lnSpc>
              <a:spcPct val="90000"/>
            </a:lnSpc>
            <a:spcBef>
              <a:spcPct val="0"/>
            </a:spcBef>
            <a:spcAft>
              <a:spcPct val="15000"/>
            </a:spcAft>
            <a:buChar char="••"/>
          </a:pPr>
          <a:r>
            <a:rPr lang="de-DE" sz="700" b="0" kern="1200" dirty="0" smtClean="0"/>
            <a:t>HTML</a:t>
          </a:r>
          <a:endParaRPr lang="de-DE" sz="700" kern="1200" dirty="0"/>
        </a:p>
        <a:p>
          <a:pPr marL="57150" lvl="1" indent="-57150" algn="l" defTabSz="311150" rtl="0">
            <a:lnSpc>
              <a:spcPct val="90000"/>
            </a:lnSpc>
            <a:spcBef>
              <a:spcPct val="0"/>
            </a:spcBef>
            <a:spcAft>
              <a:spcPct val="15000"/>
            </a:spcAft>
            <a:buChar char="••"/>
          </a:pPr>
          <a:r>
            <a:rPr lang="de-DE" sz="700" b="0" kern="1200" dirty="0" smtClean="0"/>
            <a:t>CSS</a:t>
          </a:r>
          <a:endParaRPr lang="de-DE" sz="700" kern="1200" dirty="0"/>
        </a:p>
        <a:p>
          <a:pPr marL="57150" lvl="1" indent="-57150" algn="l" defTabSz="311150" rtl="0">
            <a:lnSpc>
              <a:spcPct val="90000"/>
            </a:lnSpc>
            <a:spcBef>
              <a:spcPct val="0"/>
            </a:spcBef>
            <a:spcAft>
              <a:spcPct val="15000"/>
            </a:spcAft>
            <a:buChar char="••"/>
          </a:pPr>
          <a:r>
            <a:rPr lang="de-DE" sz="700" b="0" kern="1200" dirty="0" smtClean="0"/>
            <a:t>JavaScript</a:t>
          </a:r>
        </a:p>
      </dsp:txBody>
      <dsp:txXfrm>
        <a:off x="2832671" y="443356"/>
        <a:ext cx="1368202" cy="1368202"/>
      </dsp:txXfrm>
    </dsp:sp>
    <dsp:sp modelId="{95757323-9BD2-40DD-805A-1A6D5785594D}">
      <dsp:nvSpPr>
        <dsp:cNvPr id="0" name=""/>
        <dsp:cNvSpPr/>
      </dsp:nvSpPr>
      <dsp:spPr>
        <a:xfrm>
          <a:off x="1125783" y="2002210"/>
          <a:ext cx="1516236" cy="15162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t" anchorCtr="0">
          <a:noAutofit/>
        </a:bodyPr>
        <a:lstStyle/>
        <a:p>
          <a:pPr lvl="0" algn="l" defTabSz="400050">
            <a:lnSpc>
              <a:spcPct val="90000"/>
            </a:lnSpc>
            <a:spcBef>
              <a:spcPct val="0"/>
            </a:spcBef>
            <a:spcAft>
              <a:spcPct val="35000"/>
            </a:spcAft>
          </a:pPr>
          <a:r>
            <a:rPr lang="de-DE" sz="900" kern="1200" dirty="0" smtClean="0"/>
            <a:t>Frameworks/Bibliotheken</a:t>
          </a:r>
          <a:endParaRPr lang="de-DE" sz="900" kern="1200" dirty="0"/>
        </a:p>
        <a:p>
          <a:pPr marL="57150" lvl="1" indent="-57150" algn="l" defTabSz="311150" rtl="0">
            <a:lnSpc>
              <a:spcPct val="90000"/>
            </a:lnSpc>
            <a:spcBef>
              <a:spcPct val="0"/>
            </a:spcBef>
            <a:spcAft>
              <a:spcPct val="15000"/>
            </a:spcAft>
            <a:buChar char="••"/>
          </a:pPr>
          <a:r>
            <a:rPr lang="de-DE" sz="700" kern="1200" dirty="0" smtClean="0"/>
            <a:t>ASP .NET MVC</a:t>
          </a:r>
          <a:endParaRPr lang="de-DE" sz="700" kern="1200" dirty="0"/>
        </a:p>
        <a:p>
          <a:pPr marL="57150" lvl="1" indent="-57150" algn="l" defTabSz="311150" rtl="0">
            <a:lnSpc>
              <a:spcPct val="90000"/>
            </a:lnSpc>
            <a:spcBef>
              <a:spcPct val="0"/>
            </a:spcBef>
            <a:spcAft>
              <a:spcPct val="15000"/>
            </a:spcAft>
            <a:buChar char="••"/>
          </a:pPr>
          <a:r>
            <a:rPr lang="de-DE" sz="700" kern="1200" dirty="0" smtClean="0"/>
            <a:t>SignalR</a:t>
          </a:r>
          <a:endParaRPr lang="de-DE" sz="700" kern="1200" dirty="0"/>
        </a:p>
        <a:p>
          <a:pPr marL="57150" lvl="1" indent="-57150" algn="l" defTabSz="311150" rtl="0">
            <a:lnSpc>
              <a:spcPct val="90000"/>
            </a:lnSpc>
            <a:spcBef>
              <a:spcPct val="0"/>
            </a:spcBef>
            <a:spcAft>
              <a:spcPct val="15000"/>
            </a:spcAft>
            <a:buChar char="••"/>
          </a:pPr>
          <a:r>
            <a:rPr lang="de-DE" sz="700" kern="1200" dirty="0" err="1" smtClean="0"/>
            <a:t>Entity</a:t>
          </a:r>
          <a:r>
            <a:rPr lang="de-DE" sz="700" kern="1200" dirty="0" smtClean="0"/>
            <a:t> Framework</a:t>
          </a:r>
        </a:p>
      </dsp:txBody>
      <dsp:txXfrm>
        <a:off x="1199800" y="2076227"/>
        <a:ext cx="1368202" cy="1368202"/>
      </dsp:txXfrm>
    </dsp:sp>
    <dsp:sp modelId="{56090CEE-32E3-464B-AC5C-9EFBAFAFD4A5}">
      <dsp:nvSpPr>
        <dsp:cNvPr id="0" name=""/>
        <dsp:cNvSpPr/>
      </dsp:nvSpPr>
      <dsp:spPr>
        <a:xfrm>
          <a:off x="2758654" y="2002210"/>
          <a:ext cx="1516236" cy="15162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t" anchorCtr="0">
          <a:noAutofit/>
        </a:bodyPr>
        <a:lstStyle/>
        <a:p>
          <a:pPr lvl="0" algn="l" defTabSz="400050">
            <a:lnSpc>
              <a:spcPct val="90000"/>
            </a:lnSpc>
            <a:spcBef>
              <a:spcPct val="0"/>
            </a:spcBef>
            <a:spcAft>
              <a:spcPct val="35000"/>
            </a:spcAft>
          </a:pPr>
          <a:r>
            <a:rPr lang="de-DE" sz="900" kern="1200" dirty="0" smtClean="0"/>
            <a:t>Frameworks/Bibliotheken</a:t>
          </a:r>
          <a:endParaRPr lang="de-DE" sz="900" kern="1200" dirty="0"/>
        </a:p>
        <a:p>
          <a:pPr marL="57150" lvl="1" indent="-57150" algn="l" defTabSz="311150">
            <a:lnSpc>
              <a:spcPct val="90000"/>
            </a:lnSpc>
            <a:spcBef>
              <a:spcPct val="0"/>
            </a:spcBef>
            <a:spcAft>
              <a:spcPct val="15000"/>
            </a:spcAft>
            <a:buChar char="••"/>
          </a:pPr>
          <a:r>
            <a:rPr lang="de-DE" sz="700" b="0" kern="1200" dirty="0" err="1" smtClean="0"/>
            <a:t>JQuery</a:t>
          </a:r>
          <a:endParaRPr lang="de-DE" sz="700" kern="1200" dirty="0"/>
        </a:p>
        <a:p>
          <a:pPr marL="57150" lvl="1" indent="-57150" algn="l" defTabSz="311150">
            <a:lnSpc>
              <a:spcPct val="90000"/>
            </a:lnSpc>
            <a:spcBef>
              <a:spcPct val="0"/>
            </a:spcBef>
            <a:spcAft>
              <a:spcPct val="15000"/>
            </a:spcAft>
            <a:buChar char="••"/>
          </a:pPr>
          <a:r>
            <a:rPr lang="de-DE" sz="700" b="0" kern="1200" smtClean="0"/>
            <a:t>KendoUI</a:t>
          </a:r>
          <a:endParaRPr lang="de-DE" sz="700" kern="1200" dirty="0"/>
        </a:p>
      </dsp:txBody>
      <dsp:txXfrm>
        <a:off x="2832671" y="2076227"/>
        <a:ext cx="1368202" cy="1368202"/>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Datumsplatzhalter 3"/>
          <p:cNvSpPr>
            <a:spLocks noGrp="1"/>
          </p:cNvSpPr>
          <p:nvPr>
            <p:ph type="dt" sz="half" idx="1"/>
          </p:nvPr>
        </p:nvSpPr>
        <p:spPr bwMode="gray">
          <a:xfrm>
            <a:off x="900727" y="9550407"/>
            <a:ext cx="713746" cy="241377"/>
          </a:xfrm>
          <a:prstGeom prst="rect">
            <a:avLst/>
          </a:prstGeom>
        </p:spPr>
        <p:txBody>
          <a:bodyPr vert="horz" lIns="0" tIns="0" rIns="0" bIns="0" rtlCol="0" anchor="t" anchorCtr="0">
            <a:noAutofit/>
          </a:bodyPr>
          <a:lstStyle>
            <a:lvl1pPr algn="l">
              <a:defRPr sz="900">
                <a:solidFill>
                  <a:schemeClr val="tx1"/>
                </a:solidFill>
              </a:defRPr>
            </a:lvl1pPr>
          </a:lstStyle>
          <a:p>
            <a:fld id="{C6CA75DE-53F2-4E32-A428-21861BFC6312}" type="datetimeFigureOut">
              <a:rPr lang="de-DE" smtClean="0"/>
              <a:pPr/>
              <a:t>12.05.2017</a:t>
            </a:fld>
            <a:endParaRPr lang="de-DE"/>
          </a:p>
        </p:txBody>
      </p:sp>
      <p:sp>
        <p:nvSpPr>
          <p:cNvPr id="7" name="Fußzeilenplatzhalter 4"/>
          <p:cNvSpPr>
            <a:spLocks noGrp="1"/>
          </p:cNvSpPr>
          <p:nvPr>
            <p:ph type="ftr" sz="quarter" idx="2"/>
          </p:nvPr>
        </p:nvSpPr>
        <p:spPr bwMode="gray">
          <a:xfrm>
            <a:off x="1614472" y="9550408"/>
            <a:ext cx="4638759" cy="235826"/>
          </a:xfrm>
          <a:prstGeom prst="rect">
            <a:avLst/>
          </a:prstGeom>
        </p:spPr>
        <p:txBody>
          <a:bodyPr vert="horz" lIns="0" tIns="0" rIns="0" bIns="0" rtlCol="0" anchor="t" anchorCtr="0">
            <a:noAutofit/>
          </a:bodyPr>
          <a:lstStyle>
            <a:lvl1pPr algn="l">
              <a:defRPr sz="900">
                <a:solidFill>
                  <a:schemeClr val="tx1"/>
                </a:solidFill>
              </a:defRPr>
            </a:lvl1pPr>
          </a:lstStyle>
          <a:p>
            <a:endParaRPr lang="de-DE" dirty="0"/>
          </a:p>
        </p:txBody>
      </p:sp>
      <p:sp>
        <p:nvSpPr>
          <p:cNvPr id="8" name="Foliennummernplatzhalter 5"/>
          <p:cNvSpPr>
            <a:spLocks noGrp="1"/>
          </p:cNvSpPr>
          <p:nvPr>
            <p:ph type="sldNum" sz="quarter" idx="3"/>
          </p:nvPr>
        </p:nvSpPr>
        <p:spPr bwMode="gray">
          <a:xfrm>
            <a:off x="543854" y="9550407"/>
            <a:ext cx="356873" cy="241377"/>
          </a:xfrm>
          <a:prstGeom prst="rect">
            <a:avLst/>
          </a:prstGeom>
        </p:spPr>
        <p:txBody>
          <a:bodyPr vert="horz" lIns="0" tIns="0" rIns="0" bIns="0" rtlCol="0" anchor="t" anchorCtr="0">
            <a:noAutofit/>
          </a:bodyPr>
          <a:lstStyle>
            <a:lvl1pPr algn="l">
              <a:defRPr sz="900">
                <a:solidFill>
                  <a:schemeClr val="tx1"/>
                </a:solidFill>
              </a:defRPr>
            </a:lvl1pPr>
          </a:lstStyle>
          <a:p>
            <a:fld id="{BBB7A6D9-B692-4CF8-B6FB-4109F6119714}" type="slidenum">
              <a:rPr lang="de-DE" smtClean="0"/>
              <a:pPr/>
              <a:t>‹Nr.›</a:t>
            </a:fld>
            <a:endParaRPr lang="de-DE"/>
          </a:p>
        </p:txBody>
      </p:sp>
    </p:spTree>
    <p:extLst>
      <p:ext uri="{BB962C8B-B14F-4D97-AF65-F5344CB8AC3E}">
        <p14:creationId xmlns:p14="http://schemas.microsoft.com/office/powerpoint/2010/main" val="3362214482"/>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6" name="Rectangle 4"/>
          <p:cNvSpPr>
            <a:spLocks noGrp="1" noRot="1" noChangeAspect="1" noChangeArrowheads="1" noTextEdit="1"/>
          </p:cNvSpPr>
          <p:nvPr>
            <p:ph type="sldImg" idx="2"/>
          </p:nvPr>
        </p:nvSpPr>
        <p:spPr bwMode="gray">
          <a:xfrm>
            <a:off x="536921" y="982663"/>
            <a:ext cx="5310188" cy="3743325"/>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8197" name="Rectangle 5"/>
          <p:cNvSpPr>
            <a:spLocks noGrp="1" noChangeArrowheads="1"/>
          </p:cNvSpPr>
          <p:nvPr>
            <p:ph type="body" sz="quarter" idx="3"/>
          </p:nvPr>
        </p:nvSpPr>
        <p:spPr bwMode="gray">
          <a:xfrm>
            <a:off x="544443" y="5069086"/>
            <a:ext cx="5708789" cy="41644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a:t>
            </a:r>
          </a:p>
          <a:p>
            <a:pPr lvl="7"/>
            <a:r>
              <a:rPr lang="de-DE" dirty="0" smtClean="0"/>
              <a:t>Achte Ebene</a:t>
            </a:r>
          </a:p>
          <a:p>
            <a:pPr lvl="8"/>
            <a:r>
              <a:rPr lang="de-DE" dirty="0" smtClean="0"/>
              <a:t>Neunte Ebene</a:t>
            </a:r>
          </a:p>
        </p:txBody>
      </p:sp>
      <p:sp>
        <p:nvSpPr>
          <p:cNvPr id="7" name="Datumsplatzhalter 3"/>
          <p:cNvSpPr>
            <a:spLocks noGrp="1"/>
          </p:cNvSpPr>
          <p:nvPr>
            <p:ph type="dt" sz="half" idx="1"/>
          </p:nvPr>
        </p:nvSpPr>
        <p:spPr bwMode="gray">
          <a:xfrm>
            <a:off x="900727" y="9550407"/>
            <a:ext cx="713746" cy="241377"/>
          </a:xfrm>
          <a:prstGeom prst="rect">
            <a:avLst/>
          </a:prstGeom>
        </p:spPr>
        <p:txBody>
          <a:bodyPr vert="horz" lIns="0" tIns="0" rIns="0" bIns="0" rtlCol="0" anchor="t" anchorCtr="0">
            <a:noAutofit/>
          </a:bodyPr>
          <a:lstStyle>
            <a:lvl1pPr algn="l">
              <a:defRPr sz="900">
                <a:solidFill>
                  <a:schemeClr val="tx1"/>
                </a:solidFill>
              </a:defRPr>
            </a:lvl1pPr>
          </a:lstStyle>
          <a:p>
            <a:fld id="{C6CA75DE-53F2-4E32-A428-21861BFC6312}" type="datetimeFigureOut">
              <a:rPr lang="de-DE" smtClean="0"/>
              <a:pPr/>
              <a:t>12.05.2017</a:t>
            </a:fld>
            <a:endParaRPr lang="de-DE"/>
          </a:p>
        </p:txBody>
      </p:sp>
      <p:sp>
        <p:nvSpPr>
          <p:cNvPr id="8" name="Fußzeilenplatzhalter 4"/>
          <p:cNvSpPr>
            <a:spLocks noGrp="1"/>
          </p:cNvSpPr>
          <p:nvPr>
            <p:ph type="ftr" sz="quarter" idx="4"/>
          </p:nvPr>
        </p:nvSpPr>
        <p:spPr bwMode="gray">
          <a:xfrm>
            <a:off x="1614472" y="9550408"/>
            <a:ext cx="4638759" cy="235826"/>
          </a:xfrm>
          <a:prstGeom prst="rect">
            <a:avLst/>
          </a:prstGeom>
        </p:spPr>
        <p:txBody>
          <a:bodyPr vert="horz" lIns="0" tIns="0" rIns="0" bIns="0" rtlCol="0" anchor="t" anchorCtr="0">
            <a:noAutofit/>
          </a:bodyPr>
          <a:lstStyle>
            <a:lvl1pPr algn="l">
              <a:defRPr sz="900">
                <a:solidFill>
                  <a:schemeClr val="tx1"/>
                </a:solidFill>
              </a:defRPr>
            </a:lvl1pPr>
          </a:lstStyle>
          <a:p>
            <a:endParaRPr lang="de-DE" dirty="0"/>
          </a:p>
        </p:txBody>
      </p:sp>
      <p:sp>
        <p:nvSpPr>
          <p:cNvPr id="9" name="Foliennummernplatzhalter 5"/>
          <p:cNvSpPr>
            <a:spLocks noGrp="1"/>
          </p:cNvSpPr>
          <p:nvPr>
            <p:ph type="sldNum" sz="quarter" idx="5"/>
          </p:nvPr>
        </p:nvSpPr>
        <p:spPr bwMode="gray">
          <a:xfrm>
            <a:off x="543854" y="9550407"/>
            <a:ext cx="356873" cy="241377"/>
          </a:xfrm>
          <a:prstGeom prst="rect">
            <a:avLst/>
          </a:prstGeom>
        </p:spPr>
        <p:txBody>
          <a:bodyPr vert="horz" lIns="0" tIns="0" rIns="0" bIns="0" rtlCol="0" anchor="t" anchorCtr="0">
            <a:noAutofit/>
          </a:bodyPr>
          <a:lstStyle>
            <a:lvl1pPr algn="l">
              <a:defRPr sz="900">
                <a:solidFill>
                  <a:schemeClr val="tx1"/>
                </a:solidFill>
              </a:defRPr>
            </a:lvl1pPr>
          </a:lstStyle>
          <a:p>
            <a:fld id="{BBB7A6D9-B692-4CF8-B6FB-4109F6119714}" type="slidenum">
              <a:rPr lang="de-DE" smtClean="0"/>
              <a:pPr/>
              <a:t>‹Nr.›</a:t>
            </a:fld>
            <a:endParaRPr lang="de-DE"/>
          </a:p>
        </p:txBody>
      </p:sp>
    </p:spTree>
    <p:extLst>
      <p:ext uri="{BB962C8B-B14F-4D97-AF65-F5344CB8AC3E}">
        <p14:creationId xmlns:p14="http://schemas.microsoft.com/office/powerpoint/2010/main" val="2620264961"/>
      </p:ext>
    </p:extLst>
  </p:cSld>
  <p:clrMap bg1="lt1" tx1="dk1" bg2="lt2" tx2="dk2" accent1="accent1" accent2="accent2" accent3="accent3" accent4="accent4" accent5="accent5" accent6="accent6" hlink="hlink" folHlink="folHlink"/>
  <p:hf hdr="0"/>
  <p:notesStyle>
    <a:lvl1pPr algn="l" rtl="0" fontAlgn="base">
      <a:lnSpc>
        <a:spcPct val="110000"/>
      </a:lnSpc>
      <a:spcBef>
        <a:spcPts val="242"/>
      </a:spcBef>
      <a:spcAft>
        <a:spcPts val="242"/>
      </a:spcAft>
      <a:defRPr sz="1000" kern="1200">
        <a:solidFill>
          <a:schemeClr val="tx1"/>
        </a:solidFill>
        <a:latin typeface="Arial" charset="0"/>
        <a:ea typeface="+mn-ea"/>
        <a:cs typeface="+mn-cs"/>
      </a:defRPr>
    </a:lvl1pPr>
    <a:lvl2pPr marL="144990" indent="-144990" algn="l" rtl="0" fontAlgn="base">
      <a:lnSpc>
        <a:spcPct val="110000"/>
      </a:lnSpc>
      <a:spcBef>
        <a:spcPts val="242"/>
      </a:spcBef>
      <a:spcAft>
        <a:spcPts val="242"/>
      </a:spcAft>
      <a:buFont typeface="Arial" pitchFamily="34" charset="0"/>
      <a:buChar char="•"/>
      <a:defRPr sz="1000" kern="1200">
        <a:solidFill>
          <a:schemeClr val="tx1"/>
        </a:solidFill>
        <a:latin typeface="Arial" charset="0"/>
        <a:ea typeface="+mn-ea"/>
        <a:cs typeface="+mn-cs"/>
      </a:defRPr>
    </a:lvl2pPr>
    <a:lvl3pPr marL="289980" indent="-144990" algn="l" rtl="0" fontAlgn="base">
      <a:lnSpc>
        <a:spcPct val="110000"/>
      </a:lnSpc>
      <a:spcBef>
        <a:spcPts val="242"/>
      </a:spcBef>
      <a:spcAft>
        <a:spcPts val="242"/>
      </a:spcAft>
      <a:buFont typeface="Arial" pitchFamily="34" charset="0"/>
      <a:buChar char="•"/>
      <a:defRPr sz="1000" kern="1200">
        <a:solidFill>
          <a:schemeClr val="tx1"/>
        </a:solidFill>
        <a:latin typeface="Arial" charset="0"/>
        <a:ea typeface="+mn-ea"/>
        <a:cs typeface="+mn-cs"/>
      </a:defRPr>
    </a:lvl3pPr>
    <a:lvl4pPr marL="434769" indent="-144990" algn="l" rtl="0" fontAlgn="base">
      <a:lnSpc>
        <a:spcPct val="110000"/>
      </a:lnSpc>
      <a:spcBef>
        <a:spcPts val="242"/>
      </a:spcBef>
      <a:spcAft>
        <a:spcPts val="242"/>
      </a:spcAft>
      <a:buFont typeface="Arial" pitchFamily="34" charset="0"/>
      <a:buChar char="•"/>
      <a:defRPr sz="1000" kern="1200">
        <a:solidFill>
          <a:schemeClr val="tx1"/>
        </a:solidFill>
        <a:latin typeface="Arial" charset="0"/>
        <a:ea typeface="+mn-ea"/>
        <a:cs typeface="+mn-cs"/>
      </a:defRPr>
    </a:lvl4pPr>
    <a:lvl5pPr marL="579960" indent="-144990" algn="l" rtl="0" fontAlgn="base">
      <a:lnSpc>
        <a:spcPct val="110000"/>
      </a:lnSpc>
      <a:spcBef>
        <a:spcPts val="242"/>
      </a:spcBef>
      <a:spcAft>
        <a:spcPts val="242"/>
      </a:spcAft>
      <a:buFont typeface="Arial" pitchFamily="34" charset="0"/>
      <a:buChar char="•"/>
      <a:defRPr sz="1000" kern="1200">
        <a:solidFill>
          <a:schemeClr val="tx1"/>
        </a:solidFill>
        <a:latin typeface="Arial" charset="0"/>
        <a:ea typeface="+mn-ea"/>
        <a:cs typeface="+mn-cs"/>
      </a:defRPr>
    </a:lvl5pPr>
    <a:lvl6pPr marL="579960" indent="-144990" algn="l" defTabSz="736549" rtl="0" eaLnBrk="1" latinLnBrk="0" hangingPunct="1">
      <a:lnSpc>
        <a:spcPct val="110000"/>
      </a:lnSpc>
      <a:spcBef>
        <a:spcPts val="242"/>
      </a:spcBef>
      <a:spcAft>
        <a:spcPts val="242"/>
      </a:spcAft>
      <a:buFont typeface="Arial" pitchFamily="34" charset="0"/>
      <a:buChar char="•"/>
      <a:defRPr sz="1000" kern="1200" baseline="0">
        <a:solidFill>
          <a:schemeClr val="tx1"/>
        </a:solidFill>
        <a:latin typeface="+mn-lt"/>
        <a:ea typeface="+mn-ea"/>
        <a:cs typeface="+mn-cs"/>
      </a:defRPr>
    </a:lvl6pPr>
    <a:lvl7pPr marL="579960" indent="-144990" algn="l" defTabSz="736549" rtl="0" eaLnBrk="1" latinLnBrk="0" hangingPunct="1">
      <a:lnSpc>
        <a:spcPct val="110000"/>
      </a:lnSpc>
      <a:spcBef>
        <a:spcPts val="242"/>
      </a:spcBef>
      <a:spcAft>
        <a:spcPts val="242"/>
      </a:spcAft>
      <a:buFont typeface="Arial" pitchFamily="34" charset="0"/>
      <a:buChar char="•"/>
      <a:defRPr sz="1000" kern="1200" baseline="0">
        <a:solidFill>
          <a:schemeClr val="tx1"/>
        </a:solidFill>
        <a:latin typeface="+mn-lt"/>
        <a:ea typeface="+mn-ea"/>
        <a:cs typeface="+mn-cs"/>
      </a:defRPr>
    </a:lvl7pPr>
    <a:lvl8pPr marL="579960" indent="-144990" algn="l" defTabSz="736549" rtl="0" eaLnBrk="1" latinLnBrk="0" hangingPunct="1">
      <a:lnSpc>
        <a:spcPct val="110000"/>
      </a:lnSpc>
      <a:spcBef>
        <a:spcPts val="242"/>
      </a:spcBef>
      <a:spcAft>
        <a:spcPts val="242"/>
      </a:spcAft>
      <a:buFont typeface="Arial" pitchFamily="34" charset="0"/>
      <a:buChar char="•"/>
      <a:defRPr sz="1000" kern="1200" baseline="0">
        <a:solidFill>
          <a:schemeClr val="tx1"/>
        </a:solidFill>
        <a:latin typeface="+mn-lt"/>
        <a:ea typeface="+mn-ea"/>
        <a:cs typeface="+mn-cs"/>
      </a:defRPr>
    </a:lvl8pPr>
    <a:lvl9pPr marL="579960" indent="-144990" algn="l" defTabSz="736549" rtl="0" eaLnBrk="1" latinLnBrk="0" hangingPunct="1">
      <a:lnSpc>
        <a:spcPct val="110000"/>
      </a:lnSpc>
      <a:spcBef>
        <a:spcPts val="242"/>
      </a:spcBef>
      <a:spcAft>
        <a:spcPts val="242"/>
      </a:spcAft>
      <a:buFont typeface="Arial" pitchFamily="34" charset="0"/>
      <a:buChar char="•"/>
      <a:defRPr sz="1000"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xfrm>
            <a:off x="0" y="9471798"/>
            <a:ext cx="472479" cy="499110"/>
          </a:xfrm>
          <a:prstGeom prst="rect">
            <a:avLst/>
          </a:prstGeom>
          <a:noFill/>
        </p:spPr>
        <p:txBody>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eaLnBrk="0" fontAlgn="base" hangingPunct="0">
              <a:lnSpc>
                <a:spcPct val="110000"/>
              </a:lnSpc>
              <a:spcBef>
                <a:spcPct val="0"/>
              </a:spcBef>
              <a:spcAft>
                <a:spcPct val="0"/>
              </a:spcAft>
              <a:defRPr sz="1400">
                <a:solidFill>
                  <a:schemeClr val="tx1"/>
                </a:solidFill>
                <a:latin typeface="Arial" charset="0"/>
              </a:defRPr>
            </a:lvl6pPr>
            <a:lvl7pPr marL="2971800" indent="-228600" eaLnBrk="0" fontAlgn="base" hangingPunct="0">
              <a:lnSpc>
                <a:spcPct val="110000"/>
              </a:lnSpc>
              <a:spcBef>
                <a:spcPct val="0"/>
              </a:spcBef>
              <a:spcAft>
                <a:spcPct val="0"/>
              </a:spcAft>
              <a:defRPr sz="1400">
                <a:solidFill>
                  <a:schemeClr val="tx1"/>
                </a:solidFill>
                <a:latin typeface="Arial" charset="0"/>
              </a:defRPr>
            </a:lvl7pPr>
            <a:lvl8pPr marL="3429000" indent="-228600" eaLnBrk="0" fontAlgn="base" hangingPunct="0">
              <a:lnSpc>
                <a:spcPct val="110000"/>
              </a:lnSpc>
              <a:spcBef>
                <a:spcPct val="0"/>
              </a:spcBef>
              <a:spcAft>
                <a:spcPct val="0"/>
              </a:spcAft>
              <a:defRPr sz="1400">
                <a:solidFill>
                  <a:schemeClr val="tx1"/>
                </a:solidFill>
                <a:latin typeface="Arial" charset="0"/>
              </a:defRPr>
            </a:lvl8pPr>
            <a:lvl9pPr marL="3886200" indent="-228600" eaLnBrk="0" fontAlgn="base" hangingPunct="0">
              <a:lnSpc>
                <a:spcPct val="110000"/>
              </a:lnSpc>
              <a:spcBef>
                <a:spcPct val="0"/>
              </a:spcBef>
              <a:spcAft>
                <a:spcPct val="0"/>
              </a:spcAft>
              <a:defRPr sz="1400">
                <a:solidFill>
                  <a:schemeClr val="tx1"/>
                </a:solidFill>
                <a:latin typeface="Arial" charset="0"/>
              </a:defRPr>
            </a:lvl9pPr>
          </a:lstStyle>
          <a:p>
            <a:pPr eaLnBrk="1" hangingPunct="1"/>
            <a:fld id="{343956B8-8AE1-4D1A-BEAF-8A4D8F945B51}" type="slidenum">
              <a:rPr lang="de-DE" sz="1000"/>
              <a:pPr eaLnBrk="1" hangingPunct="1"/>
              <a:t>1</a:t>
            </a:fld>
            <a:endParaRPr lang="de-DE" sz="1000"/>
          </a:p>
        </p:txBody>
      </p:sp>
      <p:sp>
        <p:nvSpPr>
          <p:cNvPr id="55299" name="Rectangle 2"/>
          <p:cNvSpPr>
            <a:spLocks noGrp="1" noRot="1" noChangeAspect="1" noChangeArrowheads="1" noTextEdit="1"/>
          </p:cNvSpPr>
          <p:nvPr>
            <p:ph type="sldImg"/>
          </p:nvPr>
        </p:nvSpPr>
        <p:spPr>
          <a:xfrm>
            <a:off x="746125" y="749300"/>
            <a:ext cx="5308600" cy="3743325"/>
          </a:xfrm>
          <a:ln/>
        </p:spPr>
      </p:sp>
      <p:sp>
        <p:nvSpPr>
          <p:cNvPr id="55300" name="Rectangle 3"/>
          <p:cNvSpPr>
            <a:spLocks noGrp="1" noChangeArrowheads="1"/>
          </p:cNvSpPr>
          <p:nvPr>
            <p:ph type="body" idx="1"/>
          </p:nvPr>
        </p:nvSpPr>
        <p:spPr>
          <a:xfrm>
            <a:off x="874888" y="4743279"/>
            <a:ext cx="5047903" cy="4490256"/>
          </a:xfrm>
          <a:noFill/>
        </p:spPr>
        <p:txBody>
          <a:bodyPr lIns="92045" tIns="46029" rIns="92045" bIns="46029"/>
          <a:lstStyle/>
          <a:p>
            <a:pPr eaLnBrk="1" hangingPunct="1"/>
            <a:endParaRPr lang="de-DE" smtClean="0"/>
          </a:p>
        </p:txBody>
      </p:sp>
      <p:sp>
        <p:nvSpPr>
          <p:cNvPr id="2" name="Datumsplatzhalter 1"/>
          <p:cNvSpPr>
            <a:spLocks noGrp="1"/>
          </p:cNvSpPr>
          <p:nvPr>
            <p:ph type="dt" idx="10"/>
          </p:nvPr>
        </p:nvSpPr>
        <p:spPr>
          <a:xfrm>
            <a:off x="472479" y="9471798"/>
            <a:ext cx="785121" cy="499110"/>
          </a:xfrm>
          <a:prstGeom prst="rect">
            <a:avLst/>
          </a:prstGeom>
        </p:spPr>
        <p:txBody>
          <a:bodyPr/>
          <a:lstStyle/>
          <a:p>
            <a:fld id="{90870B8E-6320-4E8A-929D-2C531AE59AF3}" type="datetime1">
              <a:rPr lang="de-DE" smtClean="0"/>
              <a:t>12.05.2017</a:t>
            </a:fld>
            <a:endParaRPr lang="de-DE"/>
          </a:p>
        </p:txBody>
      </p:sp>
      <p:sp>
        <p:nvSpPr>
          <p:cNvPr id="3" name="Fußzeilenplatzhalter 2"/>
          <p:cNvSpPr>
            <a:spLocks noGrp="1"/>
          </p:cNvSpPr>
          <p:nvPr>
            <p:ph type="ftr" sz="quarter" idx="11"/>
          </p:nvPr>
        </p:nvSpPr>
        <p:spPr>
          <a:xfrm>
            <a:off x="1257600" y="9471798"/>
            <a:ext cx="5540075" cy="499110"/>
          </a:xfrm>
          <a:prstGeom prst="rect">
            <a:avLst/>
          </a:prstGeom>
        </p:spPr>
        <p:txBody>
          <a:bodyPr/>
          <a:lstStyle/>
          <a:p>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10;Title Sl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174232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179388" y="2160564"/>
            <a:ext cx="5400675" cy="936104"/>
          </a:xfrm>
        </p:spPr>
        <p:txBody>
          <a:bodyPr anchor="ctr"/>
          <a:lstStyle>
            <a:lvl1pPr>
              <a:defRPr sz="2400" b="0"/>
            </a:lvl1pPr>
          </a:lstStyle>
          <a:p>
            <a:r>
              <a:rPr lang="de-DE" dirty="0" smtClean="0"/>
              <a:t>Titel der Präsentation</a:t>
            </a:r>
            <a:endParaRPr lang="de-DE" dirty="0"/>
          </a:p>
        </p:txBody>
      </p:sp>
      <p:sp>
        <p:nvSpPr>
          <p:cNvPr id="3" name="Untertitel 2"/>
          <p:cNvSpPr>
            <a:spLocks noGrp="1"/>
          </p:cNvSpPr>
          <p:nvPr>
            <p:ph type="subTitle" idx="1" hasCustomPrompt="1"/>
          </p:nvPr>
        </p:nvSpPr>
        <p:spPr bwMode="gray">
          <a:xfrm>
            <a:off x="179388" y="3384699"/>
            <a:ext cx="5400675" cy="1511151"/>
          </a:xfrm>
        </p:spPr>
        <p:txBody>
          <a:bodyPr/>
          <a:lstStyle>
            <a:lvl1pPr marL="0" indent="0" algn="l">
              <a:spcBef>
                <a:spcPts val="0"/>
              </a:spcBef>
              <a:spcAft>
                <a:spcPts val="271"/>
              </a:spcAft>
              <a:buNone/>
              <a:defRPr sz="1300">
                <a:solidFill>
                  <a:schemeClr val="tx1"/>
                </a:solidFill>
              </a:defRPr>
            </a:lvl1pPr>
            <a:lvl2pPr marL="0" indent="0" algn="l">
              <a:spcBef>
                <a:spcPts val="1530"/>
              </a:spcBef>
              <a:buNone/>
              <a:defRPr sz="1300">
                <a:solidFill>
                  <a:schemeClr val="tx1"/>
                </a:solidFill>
              </a:defRPr>
            </a:lvl2pPr>
            <a:lvl3pPr marL="0" indent="0" algn="l">
              <a:buNone/>
              <a:defRPr sz="1300">
                <a:solidFill>
                  <a:schemeClr val="tx1"/>
                </a:solidFill>
              </a:defRPr>
            </a:lvl3pPr>
            <a:lvl4pPr marL="0" indent="0" algn="l">
              <a:buNone/>
              <a:defRPr sz="1300">
                <a:solidFill>
                  <a:schemeClr val="tx1"/>
                </a:solidFill>
              </a:defRPr>
            </a:lvl4pPr>
            <a:lvl5pPr marL="0" indent="0" algn="l">
              <a:buNone/>
              <a:defRPr sz="1300">
                <a:solidFill>
                  <a:schemeClr val="tx1"/>
                </a:solidFill>
              </a:defRPr>
            </a:lvl5pPr>
            <a:lvl6pPr marL="0" indent="0" algn="l">
              <a:buNone/>
              <a:defRPr sz="1300">
                <a:solidFill>
                  <a:schemeClr val="tx1"/>
                </a:solidFill>
              </a:defRPr>
            </a:lvl6pPr>
            <a:lvl7pPr marL="0" indent="0" algn="l">
              <a:buNone/>
              <a:defRPr sz="1300">
                <a:solidFill>
                  <a:schemeClr val="tx1"/>
                </a:solidFill>
              </a:defRPr>
            </a:lvl7pPr>
            <a:lvl8pPr marL="0" indent="0" algn="l">
              <a:buNone/>
              <a:defRPr sz="1300">
                <a:solidFill>
                  <a:schemeClr val="tx1"/>
                </a:solidFill>
              </a:defRPr>
            </a:lvl8pPr>
            <a:lvl9pPr marL="0" indent="0" algn="l">
              <a:buNone/>
              <a:defRPr sz="1300">
                <a:solidFill>
                  <a:schemeClr val="tx1"/>
                </a:solidFill>
              </a:defRPr>
            </a:lvl9pPr>
          </a:lstStyle>
          <a:p>
            <a:pPr lvl="0"/>
            <a:r>
              <a:rPr lang="de-DE" dirty="0" smtClean="0"/>
              <a:t>Untertitel der Präsentation</a:t>
            </a:r>
          </a:p>
          <a:p>
            <a:pPr lvl="0"/>
            <a:r>
              <a:rPr lang="de-DE" dirty="0" smtClean="0"/>
              <a:t>Name des Referenten</a:t>
            </a:r>
          </a:p>
          <a:p>
            <a:pPr lvl="1"/>
            <a:r>
              <a:rPr lang="de-DE" dirty="0" smtClean="0"/>
              <a:t>Ort, Datum in der zweiten Ebene</a:t>
            </a:r>
          </a:p>
        </p:txBody>
      </p:sp>
    </p:spTree>
    <p:extLst>
      <p:ext uri="{BB962C8B-B14F-4D97-AF65-F5344CB8AC3E}">
        <p14:creationId xmlns:p14="http://schemas.microsoft.com/office/powerpoint/2010/main" val="2238085789"/>
      </p:ext>
    </p:extLst>
  </p:cSld>
  <p:clrMapOvr>
    <a:masterClrMapping/>
  </p:clrMapOvr>
  <p:transition spd="slow">
    <p:wipe/>
  </p:transition>
  <p:timing>
    <p:tnLst>
      <p:par>
        <p:cTn id="1" dur="indefinite" restart="never" nodeType="tmRoot"/>
      </p:par>
    </p:tnLst>
  </p:timing>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018609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Bildplatzhalter 11"/>
          <p:cNvSpPr>
            <a:spLocks noGrp="1"/>
          </p:cNvSpPr>
          <p:nvPr>
            <p:ph type="pic" sz="quarter" idx="12" hasCustomPrompt="1"/>
          </p:nvPr>
        </p:nvSpPr>
        <p:spPr bwMode="gray">
          <a:xfrm>
            <a:off x="-12037" y="-3700"/>
            <a:ext cx="7587049" cy="5346785"/>
          </a:xfrm>
          <a:custGeom>
            <a:avLst/>
            <a:gdLst>
              <a:gd name="connsiteX0" fmla="*/ 10 w 9144000"/>
              <a:gd name="connsiteY0" fmla="*/ 2619516 h 6858000"/>
              <a:gd name="connsiteX1" fmla="*/ 4572000 w 9144000"/>
              <a:gd name="connsiteY1" fmla="*/ 0 h 6858000"/>
              <a:gd name="connsiteX2" fmla="*/ 9143990 w 9144000"/>
              <a:gd name="connsiteY2" fmla="*/ 2619516 h 6858000"/>
              <a:gd name="connsiteX3" fmla="*/ 7397645 w 9144000"/>
              <a:gd name="connsiteY3" fmla="*/ 6857983 h 6858000"/>
              <a:gd name="connsiteX4" fmla="*/ 1746355 w 9144000"/>
              <a:gd name="connsiteY4" fmla="*/ 6857983 h 6858000"/>
              <a:gd name="connsiteX5" fmla="*/ 10 w 9144000"/>
              <a:gd name="connsiteY5" fmla="*/ 2619516 h 6858000"/>
              <a:gd name="connsiteX0" fmla="*/ 0 w 9143980"/>
              <a:gd name="connsiteY0" fmla="*/ 141 h 6857983"/>
              <a:gd name="connsiteX1" fmla="*/ 4571990 w 9143980"/>
              <a:gd name="connsiteY1" fmla="*/ 0 h 6857983"/>
              <a:gd name="connsiteX2" fmla="*/ 9143980 w 9143980"/>
              <a:gd name="connsiteY2" fmla="*/ 2619516 h 6857983"/>
              <a:gd name="connsiteX3" fmla="*/ 7397635 w 9143980"/>
              <a:gd name="connsiteY3" fmla="*/ 6857983 h 6857983"/>
              <a:gd name="connsiteX4" fmla="*/ 1746345 w 9143980"/>
              <a:gd name="connsiteY4" fmla="*/ 6857983 h 6857983"/>
              <a:gd name="connsiteX5" fmla="*/ 0 w 9143980"/>
              <a:gd name="connsiteY5" fmla="*/ 141 h 6857983"/>
              <a:gd name="connsiteX0" fmla="*/ 6255 w 9150235"/>
              <a:gd name="connsiteY0" fmla="*/ 141 h 6867508"/>
              <a:gd name="connsiteX1" fmla="*/ 4578245 w 9150235"/>
              <a:gd name="connsiteY1" fmla="*/ 0 h 6867508"/>
              <a:gd name="connsiteX2" fmla="*/ 9150235 w 9150235"/>
              <a:gd name="connsiteY2" fmla="*/ 2619516 h 6867508"/>
              <a:gd name="connsiteX3" fmla="*/ 7403890 w 9150235"/>
              <a:gd name="connsiteY3" fmla="*/ 6857983 h 6867508"/>
              <a:gd name="connsiteX4" fmla="*/ 0 w 9150235"/>
              <a:gd name="connsiteY4" fmla="*/ 6867508 h 6867508"/>
              <a:gd name="connsiteX5" fmla="*/ 6255 w 9150235"/>
              <a:gd name="connsiteY5"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7108615 w 9150235"/>
              <a:gd name="connsiteY3" fmla="*/ 6857983 h 6867508"/>
              <a:gd name="connsiteX4" fmla="*/ 0 w 9150235"/>
              <a:gd name="connsiteY4" fmla="*/ 6867508 h 6867508"/>
              <a:gd name="connsiteX5" fmla="*/ 6255 w 9150235"/>
              <a:gd name="connsiteY5"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7888184 w 9150235"/>
              <a:gd name="connsiteY3" fmla="*/ 5243513 h 6867508"/>
              <a:gd name="connsiteX4" fmla="*/ 7108615 w 9150235"/>
              <a:gd name="connsiteY4" fmla="*/ 6857983 h 6867508"/>
              <a:gd name="connsiteX5" fmla="*/ 0 w 9150235"/>
              <a:gd name="connsiteY5" fmla="*/ 6867508 h 6867508"/>
              <a:gd name="connsiteX6" fmla="*/ 6255 w 9150235"/>
              <a:gd name="connsiteY6"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7888184 w 9150235"/>
              <a:gd name="connsiteY3" fmla="*/ 5243513 h 6867508"/>
              <a:gd name="connsiteX4" fmla="*/ 7307159 w 9150235"/>
              <a:gd name="connsiteY4" fmla="*/ 6448425 h 6867508"/>
              <a:gd name="connsiteX5" fmla="*/ 7108615 w 9150235"/>
              <a:gd name="connsiteY5" fmla="*/ 6857983 h 6867508"/>
              <a:gd name="connsiteX6" fmla="*/ 0 w 9150235"/>
              <a:gd name="connsiteY6" fmla="*/ 6867508 h 6867508"/>
              <a:gd name="connsiteX7" fmla="*/ 6255 w 9150235"/>
              <a:gd name="connsiteY7"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7888184 w 9150235"/>
              <a:gd name="connsiteY3" fmla="*/ 5243513 h 6867508"/>
              <a:gd name="connsiteX4" fmla="*/ 7111896 w 9150235"/>
              <a:gd name="connsiteY4" fmla="*/ 6662737 h 6867508"/>
              <a:gd name="connsiteX5" fmla="*/ 7108615 w 9150235"/>
              <a:gd name="connsiteY5" fmla="*/ 6857983 h 6867508"/>
              <a:gd name="connsiteX6" fmla="*/ 0 w 9150235"/>
              <a:gd name="connsiteY6" fmla="*/ 6867508 h 6867508"/>
              <a:gd name="connsiteX7" fmla="*/ 6255 w 9150235"/>
              <a:gd name="connsiteY7"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8907359 w 9150235"/>
              <a:gd name="connsiteY3" fmla="*/ 6653213 h 6867508"/>
              <a:gd name="connsiteX4" fmla="*/ 7111896 w 9150235"/>
              <a:gd name="connsiteY4" fmla="*/ 6662737 h 6867508"/>
              <a:gd name="connsiteX5" fmla="*/ 7108615 w 9150235"/>
              <a:gd name="connsiteY5" fmla="*/ 6857983 h 6867508"/>
              <a:gd name="connsiteX6" fmla="*/ 0 w 9150235"/>
              <a:gd name="connsiteY6" fmla="*/ 6867508 h 6867508"/>
              <a:gd name="connsiteX7" fmla="*/ 6255 w 9150235"/>
              <a:gd name="connsiteY7"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8926409 w 9150235"/>
              <a:gd name="connsiteY3" fmla="*/ 6191250 h 6867508"/>
              <a:gd name="connsiteX4" fmla="*/ 8907359 w 9150235"/>
              <a:gd name="connsiteY4" fmla="*/ 6653213 h 6867508"/>
              <a:gd name="connsiteX5" fmla="*/ 7111896 w 9150235"/>
              <a:gd name="connsiteY5" fmla="*/ 6662737 h 6867508"/>
              <a:gd name="connsiteX6" fmla="*/ 7108615 w 9150235"/>
              <a:gd name="connsiteY6" fmla="*/ 6857983 h 6867508"/>
              <a:gd name="connsiteX7" fmla="*/ 0 w 9150235"/>
              <a:gd name="connsiteY7" fmla="*/ 6867508 h 6867508"/>
              <a:gd name="connsiteX8" fmla="*/ 6255 w 9150235"/>
              <a:gd name="connsiteY8"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8907359 w 9150235"/>
              <a:gd name="connsiteY3" fmla="*/ 6858000 h 6867508"/>
              <a:gd name="connsiteX4" fmla="*/ 8907359 w 9150235"/>
              <a:gd name="connsiteY4" fmla="*/ 6653213 h 6867508"/>
              <a:gd name="connsiteX5" fmla="*/ 7111896 w 9150235"/>
              <a:gd name="connsiteY5" fmla="*/ 6662737 h 6867508"/>
              <a:gd name="connsiteX6" fmla="*/ 7108615 w 9150235"/>
              <a:gd name="connsiteY6" fmla="*/ 6857983 h 6867508"/>
              <a:gd name="connsiteX7" fmla="*/ 0 w 9150235"/>
              <a:gd name="connsiteY7" fmla="*/ 6867508 h 6867508"/>
              <a:gd name="connsiteX8" fmla="*/ 6255 w 9150235"/>
              <a:gd name="connsiteY8"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8997846 w 9150235"/>
              <a:gd name="connsiteY3" fmla="*/ 5334000 h 6867508"/>
              <a:gd name="connsiteX4" fmla="*/ 8907359 w 9150235"/>
              <a:gd name="connsiteY4" fmla="*/ 6858000 h 6867508"/>
              <a:gd name="connsiteX5" fmla="*/ 8907359 w 9150235"/>
              <a:gd name="connsiteY5" fmla="*/ 6653213 h 6867508"/>
              <a:gd name="connsiteX6" fmla="*/ 7111896 w 9150235"/>
              <a:gd name="connsiteY6" fmla="*/ 6662737 h 6867508"/>
              <a:gd name="connsiteX7" fmla="*/ 7108615 w 9150235"/>
              <a:gd name="connsiteY7" fmla="*/ 6857983 h 6867508"/>
              <a:gd name="connsiteX8" fmla="*/ 0 w 9150235"/>
              <a:gd name="connsiteY8" fmla="*/ 6867508 h 6867508"/>
              <a:gd name="connsiteX9" fmla="*/ 6255 w 9150235"/>
              <a:gd name="connsiteY9" fmla="*/ 141 h 6867508"/>
              <a:gd name="connsiteX0" fmla="*/ 6255 w 9150246"/>
              <a:gd name="connsiteY0" fmla="*/ 141 h 6867508"/>
              <a:gd name="connsiteX1" fmla="*/ 4578245 w 9150246"/>
              <a:gd name="connsiteY1" fmla="*/ 0 h 6867508"/>
              <a:gd name="connsiteX2" fmla="*/ 9150235 w 9150246"/>
              <a:gd name="connsiteY2" fmla="*/ 2619516 h 6867508"/>
              <a:gd name="connsiteX3" fmla="*/ 9150246 w 9150246"/>
              <a:gd name="connsiteY3" fmla="*/ 6862762 h 6867508"/>
              <a:gd name="connsiteX4" fmla="*/ 8907359 w 9150246"/>
              <a:gd name="connsiteY4" fmla="*/ 6858000 h 6867508"/>
              <a:gd name="connsiteX5" fmla="*/ 8907359 w 9150246"/>
              <a:gd name="connsiteY5" fmla="*/ 6653213 h 6867508"/>
              <a:gd name="connsiteX6" fmla="*/ 7111896 w 9150246"/>
              <a:gd name="connsiteY6" fmla="*/ 6662737 h 6867508"/>
              <a:gd name="connsiteX7" fmla="*/ 7108615 w 9150246"/>
              <a:gd name="connsiteY7" fmla="*/ 6857983 h 6867508"/>
              <a:gd name="connsiteX8" fmla="*/ 0 w 9150246"/>
              <a:gd name="connsiteY8" fmla="*/ 6867508 h 6867508"/>
              <a:gd name="connsiteX9" fmla="*/ 6255 w 9150246"/>
              <a:gd name="connsiteY9" fmla="*/ 141 h 6867508"/>
              <a:gd name="connsiteX0" fmla="*/ 6255 w 9150246"/>
              <a:gd name="connsiteY0" fmla="*/ 141 h 6867508"/>
              <a:gd name="connsiteX1" fmla="*/ 4578245 w 9150246"/>
              <a:gd name="connsiteY1" fmla="*/ 0 h 6867508"/>
              <a:gd name="connsiteX2" fmla="*/ 9150235 w 9150246"/>
              <a:gd name="connsiteY2" fmla="*/ 1057416 h 6867508"/>
              <a:gd name="connsiteX3" fmla="*/ 9150246 w 9150246"/>
              <a:gd name="connsiteY3" fmla="*/ 6862762 h 6867508"/>
              <a:gd name="connsiteX4" fmla="*/ 8907359 w 9150246"/>
              <a:gd name="connsiteY4" fmla="*/ 6858000 h 6867508"/>
              <a:gd name="connsiteX5" fmla="*/ 8907359 w 9150246"/>
              <a:gd name="connsiteY5" fmla="*/ 6653213 h 6867508"/>
              <a:gd name="connsiteX6" fmla="*/ 7111896 w 9150246"/>
              <a:gd name="connsiteY6" fmla="*/ 6662737 h 6867508"/>
              <a:gd name="connsiteX7" fmla="*/ 7108615 w 9150246"/>
              <a:gd name="connsiteY7" fmla="*/ 6857983 h 6867508"/>
              <a:gd name="connsiteX8" fmla="*/ 0 w 9150246"/>
              <a:gd name="connsiteY8" fmla="*/ 6867508 h 6867508"/>
              <a:gd name="connsiteX9" fmla="*/ 6255 w 9150246"/>
              <a:gd name="connsiteY9" fmla="*/ 141 h 6867508"/>
              <a:gd name="connsiteX0" fmla="*/ 6255 w 9150246"/>
              <a:gd name="connsiteY0" fmla="*/ 141 h 6867508"/>
              <a:gd name="connsiteX1" fmla="*/ 4578245 w 9150246"/>
              <a:gd name="connsiteY1" fmla="*/ 0 h 6867508"/>
              <a:gd name="connsiteX2" fmla="*/ 9150235 w 9150246"/>
              <a:gd name="connsiteY2" fmla="*/ 141 h 6867508"/>
              <a:gd name="connsiteX3" fmla="*/ 9150246 w 9150246"/>
              <a:gd name="connsiteY3" fmla="*/ 6862762 h 6867508"/>
              <a:gd name="connsiteX4" fmla="*/ 8907359 w 9150246"/>
              <a:gd name="connsiteY4" fmla="*/ 6858000 h 6867508"/>
              <a:gd name="connsiteX5" fmla="*/ 8907359 w 9150246"/>
              <a:gd name="connsiteY5" fmla="*/ 6653213 h 6867508"/>
              <a:gd name="connsiteX6" fmla="*/ 7111896 w 9150246"/>
              <a:gd name="connsiteY6" fmla="*/ 6662737 h 6867508"/>
              <a:gd name="connsiteX7" fmla="*/ 7108615 w 9150246"/>
              <a:gd name="connsiteY7" fmla="*/ 6857983 h 6867508"/>
              <a:gd name="connsiteX8" fmla="*/ 0 w 9150246"/>
              <a:gd name="connsiteY8" fmla="*/ 6867508 h 6867508"/>
              <a:gd name="connsiteX9" fmla="*/ 6255 w 9150246"/>
              <a:gd name="connsiteY9" fmla="*/ 141 h 6867508"/>
              <a:gd name="connsiteX0" fmla="*/ 6255 w 9150246"/>
              <a:gd name="connsiteY0" fmla="*/ 141 h 6867508"/>
              <a:gd name="connsiteX1" fmla="*/ 4578245 w 9150246"/>
              <a:gd name="connsiteY1" fmla="*/ 0 h 6867508"/>
              <a:gd name="connsiteX2" fmla="*/ 8993083 w 9150246"/>
              <a:gd name="connsiteY2" fmla="*/ 0 h 6867508"/>
              <a:gd name="connsiteX3" fmla="*/ 9150235 w 9150246"/>
              <a:gd name="connsiteY3" fmla="*/ 141 h 6867508"/>
              <a:gd name="connsiteX4" fmla="*/ 9150246 w 9150246"/>
              <a:gd name="connsiteY4" fmla="*/ 6862762 h 6867508"/>
              <a:gd name="connsiteX5" fmla="*/ 8907359 w 9150246"/>
              <a:gd name="connsiteY5" fmla="*/ 6858000 h 6867508"/>
              <a:gd name="connsiteX6" fmla="*/ 8907359 w 9150246"/>
              <a:gd name="connsiteY6" fmla="*/ 6653213 h 6867508"/>
              <a:gd name="connsiteX7" fmla="*/ 7111896 w 9150246"/>
              <a:gd name="connsiteY7" fmla="*/ 6662737 h 6867508"/>
              <a:gd name="connsiteX8" fmla="*/ 7108615 w 9150246"/>
              <a:gd name="connsiteY8" fmla="*/ 6857983 h 6867508"/>
              <a:gd name="connsiteX9" fmla="*/ 0 w 9150246"/>
              <a:gd name="connsiteY9" fmla="*/ 6867508 h 6867508"/>
              <a:gd name="connsiteX10" fmla="*/ 6255 w 9150246"/>
              <a:gd name="connsiteY10" fmla="*/ 141 h 6867508"/>
              <a:gd name="connsiteX0" fmla="*/ 6255 w 9150246"/>
              <a:gd name="connsiteY0" fmla="*/ 141 h 6867508"/>
              <a:gd name="connsiteX1" fmla="*/ 4578245 w 9150246"/>
              <a:gd name="connsiteY1" fmla="*/ 0 h 6867508"/>
              <a:gd name="connsiteX2" fmla="*/ 9026420 w 9150246"/>
              <a:gd name="connsiteY2" fmla="*/ 0 h 6867508"/>
              <a:gd name="connsiteX3" fmla="*/ 9150235 w 9150246"/>
              <a:gd name="connsiteY3" fmla="*/ 141 h 6867508"/>
              <a:gd name="connsiteX4" fmla="*/ 9150246 w 9150246"/>
              <a:gd name="connsiteY4" fmla="*/ 6862762 h 6867508"/>
              <a:gd name="connsiteX5" fmla="*/ 8907359 w 9150246"/>
              <a:gd name="connsiteY5" fmla="*/ 6858000 h 6867508"/>
              <a:gd name="connsiteX6" fmla="*/ 8907359 w 9150246"/>
              <a:gd name="connsiteY6" fmla="*/ 6653213 h 6867508"/>
              <a:gd name="connsiteX7" fmla="*/ 7111896 w 9150246"/>
              <a:gd name="connsiteY7" fmla="*/ 6662737 h 6867508"/>
              <a:gd name="connsiteX8" fmla="*/ 7108615 w 9150246"/>
              <a:gd name="connsiteY8" fmla="*/ 6857983 h 6867508"/>
              <a:gd name="connsiteX9" fmla="*/ 0 w 9150246"/>
              <a:gd name="connsiteY9" fmla="*/ 6867508 h 6867508"/>
              <a:gd name="connsiteX10" fmla="*/ 6255 w 9150246"/>
              <a:gd name="connsiteY10" fmla="*/ 141 h 6867508"/>
              <a:gd name="connsiteX0" fmla="*/ 6255 w 9150246"/>
              <a:gd name="connsiteY0" fmla="*/ 141 h 6867508"/>
              <a:gd name="connsiteX1" fmla="*/ 4578245 w 9150246"/>
              <a:gd name="connsiteY1" fmla="*/ 0 h 6867508"/>
              <a:gd name="connsiteX2" fmla="*/ 9035945 w 9150246"/>
              <a:gd name="connsiteY2" fmla="*/ 0 h 6867508"/>
              <a:gd name="connsiteX3" fmla="*/ 9150235 w 9150246"/>
              <a:gd name="connsiteY3" fmla="*/ 141 h 6867508"/>
              <a:gd name="connsiteX4" fmla="*/ 9150246 w 9150246"/>
              <a:gd name="connsiteY4" fmla="*/ 6862762 h 6867508"/>
              <a:gd name="connsiteX5" fmla="*/ 8907359 w 9150246"/>
              <a:gd name="connsiteY5" fmla="*/ 6858000 h 6867508"/>
              <a:gd name="connsiteX6" fmla="*/ 8907359 w 9150246"/>
              <a:gd name="connsiteY6" fmla="*/ 6653213 h 6867508"/>
              <a:gd name="connsiteX7" fmla="*/ 7111896 w 9150246"/>
              <a:gd name="connsiteY7" fmla="*/ 6662737 h 6867508"/>
              <a:gd name="connsiteX8" fmla="*/ 7108615 w 9150246"/>
              <a:gd name="connsiteY8" fmla="*/ 6857983 h 6867508"/>
              <a:gd name="connsiteX9" fmla="*/ 0 w 9150246"/>
              <a:gd name="connsiteY9" fmla="*/ 6867508 h 6867508"/>
              <a:gd name="connsiteX10" fmla="*/ 6255 w 9150246"/>
              <a:gd name="connsiteY10" fmla="*/ 141 h 6867508"/>
              <a:gd name="connsiteX0" fmla="*/ 6255 w 9150246"/>
              <a:gd name="connsiteY0" fmla="*/ 141 h 6867508"/>
              <a:gd name="connsiteX1" fmla="*/ 4578245 w 9150246"/>
              <a:gd name="connsiteY1" fmla="*/ 0 h 6867508"/>
              <a:gd name="connsiteX2" fmla="*/ 9045470 w 9150246"/>
              <a:gd name="connsiteY2" fmla="*/ 0 h 6867508"/>
              <a:gd name="connsiteX3" fmla="*/ 9150235 w 9150246"/>
              <a:gd name="connsiteY3" fmla="*/ 141 h 6867508"/>
              <a:gd name="connsiteX4" fmla="*/ 9150246 w 9150246"/>
              <a:gd name="connsiteY4" fmla="*/ 6862762 h 6867508"/>
              <a:gd name="connsiteX5" fmla="*/ 8907359 w 9150246"/>
              <a:gd name="connsiteY5" fmla="*/ 6858000 h 6867508"/>
              <a:gd name="connsiteX6" fmla="*/ 8907359 w 9150246"/>
              <a:gd name="connsiteY6" fmla="*/ 6653213 h 6867508"/>
              <a:gd name="connsiteX7" fmla="*/ 7111896 w 9150246"/>
              <a:gd name="connsiteY7" fmla="*/ 6662737 h 6867508"/>
              <a:gd name="connsiteX8" fmla="*/ 7108615 w 9150246"/>
              <a:gd name="connsiteY8" fmla="*/ 6857983 h 6867508"/>
              <a:gd name="connsiteX9" fmla="*/ 0 w 9150246"/>
              <a:gd name="connsiteY9" fmla="*/ 6867508 h 6867508"/>
              <a:gd name="connsiteX10" fmla="*/ 6255 w 9150246"/>
              <a:gd name="connsiteY10" fmla="*/ 141 h 6867508"/>
              <a:gd name="connsiteX0" fmla="*/ 6255 w 9150246"/>
              <a:gd name="connsiteY0" fmla="*/ 2522 h 6869889"/>
              <a:gd name="connsiteX1" fmla="*/ 4578245 w 9150246"/>
              <a:gd name="connsiteY1" fmla="*/ 2381 h 6869889"/>
              <a:gd name="connsiteX2" fmla="*/ 8969270 w 9150246"/>
              <a:gd name="connsiteY2" fmla="*/ 0 h 6869889"/>
              <a:gd name="connsiteX3" fmla="*/ 9045470 w 9150246"/>
              <a:gd name="connsiteY3" fmla="*/ 2381 h 6869889"/>
              <a:gd name="connsiteX4" fmla="*/ 9150235 w 9150246"/>
              <a:gd name="connsiteY4" fmla="*/ 2522 h 6869889"/>
              <a:gd name="connsiteX5" fmla="*/ 9150246 w 9150246"/>
              <a:gd name="connsiteY5" fmla="*/ 6865143 h 6869889"/>
              <a:gd name="connsiteX6" fmla="*/ 8907359 w 9150246"/>
              <a:gd name="connsiteY6" fmla="*/ 6860381 h 6869889"/>
              <a:gd name="connsiteX7" fmla="*/ 8907359 w 9150246"/>
              <a:gd name="connsiteY7" fmla="*/ 6655594 h 6869889"/>
              <a:gd name="connsiteX8" fmla="*/ 7111896 w 9150246"/>
              <a:gd name="connsiteY8" fmla="*/ 6665118 h 6869889"/>
              <a:gd name="connsiteX9" fmla="*/ 7108615 w 9150246"/>
              <a:gd name="connsiteY9" fmla="*/ 6860364 h 6869889"/>
              <a:gd name="connsiteX10" fmla="*/ 0 w 9150246"/>
              <a:gd name="connsiteY10" fmla="*/ 6869889 h 6869889"/>
              <a:gd name="connsiteX11" fmla="*/ 6255 w 9150246"/>
              <a:gd name="connsiteY11" fmla="*/ 2522 h 6869889"/>
              <a:gd name="connsiteX0" fmla="*/ 6255 w 9150246"/>
              <a:gd name="connsiteY0" fmla="*/ 141 h 6867508"/>
              <a:gd name="connsiteX1" fmla="*/ 4578245 w 9150246"/>
              <a:gd name="connsiteY1" fmla="*/ 0 h 6867508"/>
              <a:gd name="connsiteX2" fmla="*/ 9047851 w 9150246"/>
              <a:gd name="connsiteY2" fmla="*/ 1054894 h 6867508"/>
              <a:gd name="connsiteX3" fmla="*/ 9045470 w 9150246"/>
              <a:gd name="connsiteY3" fmla="*/ 0 h 6867508"/>
              <a:gd name="connsiteX4" fmla="*/ 9150235 w 9150246"/>
              <a:gd name="connsiteY4" fmla="*/ 141 h 6867508"/>
              <a:gd name="connsiteX5" fmla="*/ 9150246 w 9150246"/>
              <a:gd name="connsiteY5" fmla="*/ 6862762 h 6867508"/>
              <a:gd name="connsiteX6" fmla="*/ 8907359 w 9150246"/>
              <a:gd name="connsiteY6" fmla="*/ 6858000 h 6867508"/>
              <a:gd name="connsiteX7" fmla="*/ 8907359 w 9150246"/>
              <a:gd name="connsiteY7" fmla="*/ 6653213 h 6867508"/>
              <a:gd name="connsiteX8" fmla="*/ 7111896 w 9150246"/>
              <a:gd name="connsiteY8" fmla="*/ 6662737 h 6867508"/>
              <a:gd name="connsiteX9" fmla="*/ 7108615 w 9150246"/>
              <a:gd name="connsiteY9" fmla="*/ 6857983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7851 w 9150246"/>
              <a:gd name="connsiteY2" fmla="*/ 1054894 h 6867508"/>
              <a:gd name="connsiteX3" fmla="*/ 9045470 w 9150246"/>
              <a:gd name="connsiteY3" fmla="*/ 2381 h 6867508"/>
              <a:gd name="connsiteX4" fmla="*/ 9150235 w 9150246"/>
              <a:gd name="connsiteY4" fmla="*/ 141 h 6867508"/>
              <a:gd name="connsiteX5" fmla="*/ 9150246 w 9150246"/>
              <a:gd name="connsiteY5" fmla="*/ 6862762 h 6867508"/>
              <a:gd name="connsiteX6" fmla="*/ 8907359 w 9150246"/>
              <a:gd name="connsiteY6" fmla="*/ 6858000 h 6867508"/>
              <a:gd name="connsiteX7" fmla="*/ 8907359 w 9150246"/>
              <a:gd name="connsiteY7" fmla="*/ 6653213 h 6867508"/>
              <a:gd name="connsiteX8" fmla="*/ 7111896 w 9150246"/>
              <a:gd name="connsiteY8" fmla="*/ 6662737 h 6867508"/>
              <a:gd name="connsiteX9" fmla="*/ 7108615 w 9150246"/>
              <a:gd name="connsiteY9" fmla="*/ 6857983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7497658 w 9150246"/>
              <a:gd name="connsiteY2" fmla="*/ 690563 h 6867508"/>
              <a:gd name="connsiteX3" fmla="*/ 9047851 w 9150246"/>
              <a:gd name="connsiteY3" fmla="*/ 1054894 h 6867508"/>
              <a:gd name="connsiteX4" fmla="*/ 9045470 w 9150246"/>
              <a:gd name="connsiteY4" fmla="*/ 2381 h 6867508"/>
              <a:gd name="connsiteX5" fmla="*/ 9150235 w 9150246"/>
              <a:gd name="connsiteY5" fmla="*/ 141 h 6867508"/>
              <a:gd name="connsiteX6" fmla="*/ 9150246 w 9150246"/>
              <a:gd name="connsiteY6" fmla="*/ 6862762 h 6867508"/>
              <a:gd name="connsiteX7" fmla="*/ 8907359 w 9150246"/>
              <a:gd name="connsiteY7" fmla="*/ 6858000 h 6867508"/>
              <a:gd name="connsiteX8" fmla="*/ 8907359 w 9150246"/>
              <a:gd name="connsiteY8" fmla="*/ 6653213 h 6867508"/>
              <a:gd name="connsiteX9" fmla="*/ 7111896 w 9150246"/>
              <a:gd name="connsiteY9" fmla="*/ 6662737 h 6867508"/>
              <a:gd name="connsiteX10" fmla="*/ 7108615 w 9150246"/>
              <a:gd name="connsiteY10" fmla="*/ 6857983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6947589 w 9150246"/>
              <a:gd name="connsiteY2" fmla="*/ 1057276 h 6867508"/>
              <a:gd name="connsiteX3" fmla="*/ 9047851 w 9150246"/>
              <a:gd name="connsiteY3" fmla="*/ 1054894 h 6867508"/>
              <a:gd name="connsiteX4" fmla="*/ 9045470 w 9150246"/>
              <a:gd name="connsiteY4" fmla="*/ 2381 h 6867508"/>
              <a:gd name="connsiteX5" fmla="*/ 9150235 w 9150246"/>
              <a:gd name="connsiteY5" fmla="*/ 141 h 6867508"/>
              <a:gd name="connsiteX6" fmla="*/ 9150246 w 9150246"/>
              <a:gd name="connsiteY6" fmla="*/ 6862762 h 6867508"/>
              <a:gd name="connsiteX7" fmla="*/ 8907359 w 9150246"/>
              <a:gd name="connsiteY7" fmla="*/ 6858000 h 6867508"/>
              <a:gd name="connsiteX8" fmla="*/ 8907359 w 9150246"/>
              <a:gd name="connsiteY8" fmla="*/ 6653213 h 6867508"/>
              <a:gd name="connsiteX9" fmla="*/ 7111896 w 9150246"/>
              <a:gd name="connsiteY9" fmla="*/ 6662737 h 6867508"/>
              <a:gd name="connsiteX10" fmla="*/ 7108615 w 9150246"/>
              <a:gd name="connsiteY10" fmla="*/ 6857983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6542776 w 9150246"/>
              <a:gd name="connsiteY2" fmla="*/ 871538 h 6867508"/>
              <a:gd name="connsiteX3" fmla="*/ 6947589 w 9150246"/>
              <a:gd name="connsiteY3" fmla="*/ 1057276 h 6867508"/>
              <a:gd name="connsiteX4" fmla="*/ 9047851 w 9150246"/>
              <a:gd name="connsiteY4" fmla="*/ 1054894 h 6867508"/>
              <a:gd name="connsiteX5" fmla="*/ 9045470 w 9150246"/>
              <a:gd name="connsiteY5" fmla="*/ 2381 h 6867508"/>
              <a:gd name="connsiteX6" fmla="*/ 9150235 w 9150246"/>
              <a:gd name="connsiteY6" fmla="*/ 141 h 6867508"/>
              <a:gd name="connsiteX7" fmla="*/ 9150246 w 9150246"/>
              <a:gd name="connsiteY7" fmla="*/ 6862762 h 6867508"/>
              <a:gd name="connsiteX8" fmla="*/ 8907359 w 9150246"/>
              <a:gd name="connsiteY8" fmla="*/ 6858000 h 6867508"/>
              <a:gd name="connsiteX9" fmla="*/ 8907359 w 9150246"/>
              <a:gd name="connsiteY9" fmla="*/ 6653213 h 6867508"/>
              <a:gd name="connsiteX10" fmla="*/ 7111896 w 9150246"/>
              <a:gd name="connsiteY10" fmla="*/ 6662737 h 6867508"/>
              <a:gd name="connsiteX11" fmla="*/ 7108615 w 9150246"/>
              <a:gd name="connsiteY11" fmla="*/ 6857983 h 6867508"/>
              <a:gd name="connsiteX12" fmla="*/ 0 w 9150246"/>
              <a:gd name="connsiteY12" fmla="*/ 6867508 h 6867508"/>
              <a:gd name="connsiteX13" fmla="*/ 6255 w 9150246"/>
              <a:gd name="connsiteY13" fmla="*/ 141 h 6867508"/>
              <a:gd name="connsiteX0" fmla="*/ 6255 w 9150246"/>
              <a:gd name="connsiteY0" fmla="*/ 141 h 6867508"/>
              <a:gd name="connsiteX1" fmla="*/ 4578245 w 9150246"/>
              <a:gd name="connsiteY1" fmla="*/ 0 h 6867508"/>
              <a:gd name="connsiteX2" fmla="*/ 6949970 w 9150246"/>
              <a:gd name="connsiteY2" fmla="*/ 104775 h 6867508"/>
              <a:gd name="connsiteX3" fmla="*/ 6947589 w 9150246"/>
              <a:gd name="connsiteY3" fmla="*/ 1057276 h 6867508"/>
              <a:gd name="connsiteX4" fmla="*/ 9047851 w 9150246"/>
              <a:gd name="connsiteY4" fmla="*/ 1054894 h 6867508"/>
              <a:gd name="connsiteX5" fmla="*/ 9045470 w 9150246"/>
              <a:gd name="connsiteY5" fmla="*/ 2381 h 6867508"/>
              <a:gd name="connsiteX6" fmla="*/ 9150235 w 9150246"/>
              <a:gd name="connsiteY6" fmla="*/ 141 h 6867508"/>
              <a:gd name="connsiteX7" fmla="*/ 9150246 w 9150246"/>
              <a:gd name="connsiteY7" fmla="*/ 6862762 h 6867508"/>
              <a:gd name="connsiteX8" fmla="*/ 8907359 w 9150246"/>
              <a:gd name="connsiteY8" fmla="*/ 6858000 h 6867508"/>
              <a:gd name="connsiteX9" fmla="*/ 8907359 w 9150246"/>
              <a:gd name="connsiteY9" fmla="*/ 6653213 h 6867508"/>
              <a:gd name="connsiteX10" fmla="*/ 7111896 w 9150246"/>
              <a:gd name="connsiteY10" fmla="*/ 6662737 h 6867508"/>
              <a:gd name="connsiteX11" fmla="*/ 7108615 w 9150246"/>
              <a:gd name="connsiteY11" fmla="*/ 6857983 h 6867508"/>
              <a:gd name="connsiteX12" fmla="*/ 0 w 9150246"/>
              <a:gd name="connsiteY12" fmla="*/ 6867508 h 6867508"/>
              <a:gd name="connsiteX13" fmla="*/ 6255 w 9150246"/>
              <a:gd name="connsiteY13" fmla="*/ 141 h 6867508"/>
              <a:gd name="connsiteX0" fmla="*/ 6255 w 9150246"/>
              <a:gd name="connsiteY0" fmla="*/ 141 h 6867508"/>
              <a:gd name="connsiteX1" fmla="*/ 4578245 w 9150246"/>
              <a:gd name="connsiteY1" fmla="*/ 0 h 6867508"/>
              <a:gd name="connsiteX2" fmla="*/ 6754708 w 9150246"/>
              <a:gd name="connsiteY2" fmla="*/ 92869 h 6867508"/>
              <a:gd name="connsiteX3" fmla="*/ 6949970 w 9150246"/>
              <a:gd name="connsiteY3" fmla="*/ 104775 h 6867508"/>
              <a:gd name="connsiteX4" fmla="*/ 6947589 w 9150246"/>
              <a:gd name="connsiteY4" fmla="*/ 1057276 h 6867508"/>
              <a:gd name="connsiteX5" fmla="*/ 9047851 w 9150246"/>
              <a:gd name="connsiteY5" fmla="*/ 1054894 h 6867508"/>
              <a:gd name="connsiteX6" fmla="*/ 9045470 w 9150246"/>
              <a:gd name="connsiteY6" fmla="*/ 2381 h 6867508"/>
              <a:gd name="connsiteX7" fmla="*/ 9150235 w 9150246"/>
              <a:gd name="connsiteY7" fmla="*/ 141 h 6867508"/>
              <a:gd name="connsiteX8" fmla="*/ 9150246 w 9150246"/>
              <a:gd name="connsiteY8" fmla="*/ 6862762 h 6867508"/>
              <a:gd name="connsiteX9" fmla="*/ 8907359 w 9150246"/>
              <a:gd name="connsiteY9" fmla="*/ 6858000 h 6867508"/>
              <a:gd name="connsiteX10" fmla="*/ 8907359 w 9150246"/>
              <a:gd name="connsiteY10" fmla="*/ 6653213 h 6867508"/>
              <a:gd name="connsiteX11" fmla="*/ 7111896 w 9150246"/>
              <a:gd name="connsiteY11" fmla="*/ 6662737 h 6867508"/>
              <a:gd name="connsiteX12" fmla="*/ 7108615 w 9150246"/>
              <a:gd name="connsiteY12" fmla="*/ 6857983 h 6867508"/>
              <a:gd name="connsiteX13" fmla="*/ 0 w 9150246"/>
              <a:gd name="connsiteY13" fmla="*/ 6867508 h 6867508"/>
              <a:gd name="connsiteX14" fmla="*/ 6255 w 9150246"/>
              <a:gd name="connsiteY14" fmla="*/ 141 h 6867508"/>
              <a:gd name="connsiteX0" fmla="*/ 6255 w 9150246"/>
              <a:gd name="connsiteY0" fmla="*/ 141 h 6867508"/>
              <a:gd name="connsiteX1" fmla="*/ 4578245 w 9150246"/>
              <a:gd name="connsiteY1" fmla="*/ 0 h 6867508"/>
              <a:gd name="connsiteX2" fmla="*/ 9047852 w 9150246"/>
              <a:gd name="connsiteY2" fmla="*/ 111919 h 6867508"/>
              <a:gd name="connsiteX3" fmla="*/ 6949970 w 9150246"/>
              <a:gd name="connsiteY3" fmla="*/ 104775 h 6867508"/>
              <a:gd name="connsiteX4" fmla="*/ 6947589 w 9150246"/>
              <a:gd name="connsiteY4" fmla="*/ 1057276 h 6867508"/>
              <a:gd name="connsiteX5" fmla="*/ 9047851 w 9150246"/>
              <a:gd name="connsiteY5" fmla="*/ 1054894 h 6867508"/>
              <a:gd name="connsiteX6" fmla="*/ 9045470 w 9150246"/>
              <a:gd name="connsiteY6" fmla="*/ 2381 h 6867508"/>
              <a:gd name="connsiteX7" fmla="*/ 9150235 w 9150246"/>
              <a:gd name="connsiteY7" fmla="*/ 141 h 6867508"/>
              <a:gd name="connsiteX8" fmla="*/ 9150246 w 9150246"/>
              <a:gd name="connsiteY8" fmla="*/ 6862762 h 6867508"/>
              <a:gd name="connsiteX9" fmla="*/ 8907359 w 9150246"/>
              <a:gd name="connsiteY9" fmla="*/ 6858000 h 6867508"/>
              <a:gd name="connsiteX10" fmla="*/ 8907359 w 9150246"/>
              <a:gd name="connsiteY10" fmla="*/ 6653213 h 6867508"/>
              <a:gd name="connsiteX11" fmla="*/ 7111896 w 9150246"/>
              <a:gd name="connsiteY11" fmla="*/ 6662737 h 6867508"/>
              <a:gd name="connsiteX12" fmla="*/ 7108615 w 9150246"/>
              <a:gd name="connsiteY12" fmla="*/ 6857983 h 6867508"/>
              <a:gd name="connsiteX13" fmla="*/ 0 w 9150246"/>
              <a:gd name="connsiteY13" fmla="*/ 6867508 h 6867508"/>
              <a:gd name="connsiteX14" fmla="*/ 6255 w 9150246"/>
              <a:gd name="connsiteY14" fmla="*/ 141 h 6867508"/>
              <a:gd name="connsiteX0" fmla="*/ 6255 w 9150246"/>
              <a:gd name="connsiteY0" fmla="*/ 141 h 6867508"/>
              <a:gd name="connsiteX1" fmla="*/ 4578245 w 9150246"/>
              <a:gd name="connsiteY1" fmla="*/ 0 h 6867508"/>
              <a:gd name="connsiteX2" fmla="*/ 7857226 w 9150246"/>
              <a:gd name="connsiteY2" fmla="*/ 78581 h 6867508"/>
              <a:gd name="connsiteX3" fmla="*/ 9047852 w 9150246"/>
              <a:gd name="connsiteY3" fmla="*/ 111919 h 6867508"/>
              <a:gd name="connsiteX4" fmla="*/ 6949970 w 9150246"/>
              <a:gd name="connsiteY4" fmla="*/ 104775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8907359 w 9150246"/>
              <a:gd name="connsiteY10" fmla="*/ 6858000 h 6867508"/>
              <a:gd name="connsiteX11" fmla="*/ 8907359 w 9150246"/>
              <a:gd name="connsiteY11" fmla="*/ 6653213 h 6867508"/>
              <a:gd name="connsiteX12" fmla="*/ 7111896 w 9150246"/>
              <a:gd name="connsiteY12" fmla="*/ 6662737 h 6867508"/>
              <a:gd name="connsiteX13" fmla="*/ 7108615 w 9150246"/>
              <a:gd name="connsiteY13" fmla="*/ 6857983 h 6867508"/>
              <a:gd name="connsiteX14" fmla="*/ 0 w 9150246"/>
              <a:gd name="connsiteY14" fmla="*/ 6867508 h 6867508"/>
              <a:gd name="connsiteX15" fmla="*/ 6255 w 9150246"/>
              <a:gd name="connsiteY15"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9970 w 9150246"/>
              <a:gd name="connsiteY4" fmla="*/ 104775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8907359 w 9150246"/>
              <a:gd name="connsiteY10" fmla="*/ 6858000 h 6867508"/>
              <a:gd name="connsiteX11" fmla="*/ 8907359 w 9150246"/>
              <a:gd name="connsiteY11" fmla="*/ 6653213 h 6867508"/>
              <a:gd name="connsiteX12" fmla="*/ 7111896 w 9150246"/>
              <a:gd name="connsiteY12" fmla="*/ 6662737 h 6867508"/>
              <a:gd name="connsiteX13" fmla="*/ 7108615 w 9150246"/>
              <a:gd name="connsiteY13" fmla="*/ 6857983 h 6867508"/>
              <a:gd name="connsiteX14" fmla="*/ 0 w 9150246"/>
              <a:gd name="connsiteY14" fmla="*/ 6867508 h 6867508"/>
              <a:gd name="connsiteX15" fmla="*/ 6255 w 9150246"/>
              <a:gd name="connsiteY15"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5207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8907359 w 9150246"/>
              <a:gd name="connsiteY10" fmla="*/ 6858000 h 6867508"/>
              <a:gd name="connsiteX11" fmla="*/ 8907359 w 9150246"/>
              <a:gd name="connsiteY11" fmla="*/ 6653213 h 6867508"/>
              <a:gd name="connsiteX12" fmla="*/ 7111896 w 9150246"/>
              <a:gd name="connsiteY12" fmla="*/ 6662737 h 6867508"/>
              <a:gd name="connsiteX13" fmla="*/ 7108615 w 9150246"/>
              <a:gd name="connsiteY13" fmla="*/ 6857983 h 6867508"/>
              <a:gd name="connsiteX14" fmla="*/ 0 w 9150246"/>
              <a:gd name="connsiteY14" fmla="*/ 6867508 h 6867508"/>
              <a:gd name="connsiteX15" fmla="*/ 6255 w 9150246"/>
              <a:gd name="connsiteY15"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5207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8907359 w 9150246"/>
              <a:gd name="connsiteY10" fmla="*/ 6858000 h 6867508"/>
              <a:gd name="connsiteX11" fmla="*/ 8907359 w 9150246"/>
              <a:gd name="connsiteY11" fmla="*/ 6653213 h 6867508"/>
              <a:gd name="connsiteX12" fmla="*/ 7108615 w 9150246"/>
              <a:gd name="connsiteY12" fmla="*/ 6857983 h 6867508"/>
              <a:gd name="connsiteX13" fmla="*/ 0 w 9150246"/>
              <a:gd name="connsiteY13" fmla="*/ 6867508 h 6867508"/>
              <a:gd name="connsiteX14" fmla="*/ 6255 w 9150246"/>
              <a:gd name="connsiteY14"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5207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8907359 w 9150246"/>
              <a:gd name="connsiteY10" fmla="*/ 6858000 h 6867508"/>
              <a:gd name="connsiteX11" fmla="*/ 7108615 w 9150246"/>
              <a:gd name="connsiteY11" fmla="*/ 6857983 h 6867508"/>
              <a:gd name="connsiteX12" fmla="*/ 0 w 9150246"/>
              <a:gd name="connsiteY12" fmla="*/ 6867508 h 6867508"/>
              <a:gd name="connsiteX13" fmla="*/ 6255 w 9150246"/>
              <a:gd name="connsiteY13"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5207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7108615 w 9150246"/>
              <a:gd name="connsiteY10" fmla="*/ 6857983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5207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9969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04989 w 9150246"/>
              <a:gd name="connsiteY3" fmla="*/ 100013 h 6867508"/>
              <a:gd name="connsiteX4" fmla="*/ 6949969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50232 w 9150246"/>
              <a:gd name="connsiteY3" fmla="*/ 109538 h 6867508"/>
              <a:gd name="connsiteX4" fmla="*/ 6949969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8926407 w 9150246"/>
              <a:gd name="connsiteY3" fmla="*/ 64294 h 6867508"/>
              <a:gd name="connsiteX4" fmla="*/ 6949969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50232 w 9150246"/>
              <a:gd name="connsiteY3" fmla="*/ 109537 h 6867508"/>
              <a:gd name="connsiteX4" fmla="*/ 6949969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50232 w 9150246"/>
              <a:gd name="connsiteY3" fmla="*/ 109537 h 6867508"/>
              <a:gd name="connsiteX4" fmla="*/ 6949969 w 9150246"/>
              <a:gd name="connsiteY4" fmla="*/ 109537 h 6867508"/>
              <a:gd name="connsiteX5" fmla="*/ 6947589 w 9150246"/>
              <a:gd name="connsiteY5" fmla="*/ 1057276 h 6867508"/>
              <a:gd name="connsiteX6" fmla="*/ 9071664 w 9150246"/>
              <a:gd name="connsiteY6" fmla="*/ 1097756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50232 w 9150246"/>
              <a:gd name="connsiteY3" fmla="*/ 109537 h 6867508"/>
              <a:gd name="connsiteX4" fmla="*/ 6949969 w 9150246"/>
              <a:gd name="connsiteY4" fmla="*/ 109537 h 6867508"/>
              <a:gd name="connsiteX5" fmla="*/ 6947589 w 9150246"/>
              <a:gd name="connsiteY5" fmla="*/ 1057276 h 6867508"/>
              <a:gd name="connsiteX6" fmla="*/ 9050233 w 9150246"/>
              <a:gd name="connsiteY6" fmla="*/ 1057275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50232 w 9150246"/>
              <a:gd name="connsiteY3" fmla="*/ 109537 h 6867508"/>
              <a:gd name="connsiteX4" fmla="*/ 6949969 w 9150246"/>
              <a:gd name="connsiteY4" fmla="*/ 109537 h 6867508"/>
              <a:gd name="connsiteX5" fmla="*/ 6916632 w 9150246"/>
              <a:gd name="connsiteY5" fmla="*/ 1078707 h 6867508"/>
              <a:gd name="connsiteX6" fmla="*/ 9050233 w 9150246"/>
              <a:gd name="connsiteY6" fmla="*/ 1057275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50232 w 9150246"/>
              <a:gd name="connsiteY3" fmla="*/ 109537 h 6867508"/>
              <a:gd name="connsiteX4" fmla="*/ 6949969 w 9150246"/>
              <a:gd name="connsiteY4" fmla="*/ 109537 h 6867508"/>
              <a:gd name="connsiteX5" fmla="*/ 6916632 w 9150246"/>
              <a:gd name="connsiteY5" fmla="*/ 1078707 h 6867508"/>
              <a:gd name="connsiteX6" fmla="*/ 9050233 w 9150246"/>
              <a:gd name="connsiteY6" fmla="*/ 1057275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204580"/>
              <a:gd name="connsiteY0" fmla="*/ 141 h 6867508"/>
              <a:gd name="connsiteX1" fmla="*/ 4578245 w 9204580"/>
              <a:gd name="connsiteY1" fmla="*/ 0 h 6867508"/>
              <a:gd name="connsiteX2" fmla="*/ 9045470 w 9204580"/>
              <a:gd name="connsiteY2" fmla="*/ 2381 h 6867508"/>
              <a:gd name="connsiteX3" fmla="*/ 9050232 w 9204580"/>
              <a:gd name="connsiteY3" fmla="*/ 109537 h 6867508"/>
              <a:gd name="connsiteX4" fmla="*/ 6949969 w 9204580"/>
              <a:gd name="connsiteY4" fmla="*/ 109537 h 6867508"/>
              <a:gd name="connsiteX5" fmla="*/ 6947588 w 9204580"/>
              <a:gd name="connsiteY5" fmla="*/ 1059657 h 6867508"/>
              <a:gd name="connsiteX6" fmla="*/ 9050233 w 9204580"/>
              <a:gd name="connsiteY6" fmla="*/ 1057275 h 6867508"/>
              <a:gd name="connsiteX7" fmla="*/ 9045470 w 9204580"/>
              <a:gd name="connsiteY7" fmla="*/ 2381 h 6867508"/>
              <a:gd name="connsiteX8" fmla="*/ 9150235 w 9204580"/>
              <a:gd name="connsiteY8" fmla="*/ 141 h 6867508"/>
              <a:gd name="connsiteX9" fmla="*/ 9150246 w 9204580"/>
              <a:gd name="connsiteY9" fmla="*/ 6862762 h 6867508"/>
              <a:gd name="connsiteX10" fmla="*/ 0 w 9204580"/>
              <a:gd name="connsiteY10" fmla="*/ 6867508 h 6867508"/>
              <a:gd name="connsiteX11" fmla="*/ 6255 w 9204580"/>
              <a:gd name="connsiteY11" fmla="*/ 141 h 6867508"/>
              <a:gd name="connsiteX0" fmla="*/ 6255 w 9206344"/>
              <a:gd name="connsiteY0" fmla="*/ 141 h 6867508"/>
              <a:gd name="connsiteX1" fmla="*/ 4578245 w 9206344"/>
              <a:gd name="connsiteY1" fmla="*/ 0 h 6867508"/>
              <a:gd name="connsiteX2" fmla="*/ 9045470 w 9206344"/>
              <a:gd name="connsiteY2" fmla="*/ 2381 h 6867508"/>
              <a:gd name="connsiteX3" fmla="*/ 9050232 w 9206344"/>
              <a:gd name="connsiteY3" fmla="*/ 109537 h 6867508"/>
              <a:gd name="connsiteX4" fmla="*/ 6949969 w 9206344"/>
              <a:gd name="connsiteY4" fmla="*/ 109537 h 6867508"/>
              <a:gd name="connsiteX5" fmla="*/ 6923775 w 9206344"/>
              <a:gd name="connsiteY5" fmla="*/ 1095375 h 6867508"/>
              <a:gd name="connsiteX6" fmla="*/ 9050233 w 9206344"/>
              <a:gd name="connsiteY6" fmla="*/ 1057275 h 6867508"/>
              <a:gd name="connsiteX7" fmla="*/ 9045470 w 9206344"/>
              <a:gd name="connsiteY7" fmla="*/ 2381 h 6867508"/>
              <a:gd name="connsiteX8" fmla="*/ 9150235 w 9206344"/>
              <a:gd name="connsiteY8" fmla="*/ 141 h 6867508"/>
              <a:gd name="connsiteX9" fmla="*/ 9150246 w 9206344"/>
              <a:gd name="connsiteY9" fmla="*/ 6862762 h 6867508"/>
              <a:gd name="connsiteX10" fmla="*/ 0 w 9206344"/>
              <a:gd name="connsiteY10" fmla="*/ 6867508 h 6867508"/>
              <a:gd name="connsiteX11" fmla="*/ 6255 w 9206344"/>
              <a:gd name="connsiteY11" fmla="*/ 141 h 6867508"/>
              <a:gd name="connsiteX0" fmla="*/ 6255 w 9204404"/>
              <a:gd name="connsiteY0" fmla="*/ 141 h 6867508"/>
              <a:gd name="connsiteX1" fmla="*/ 4578245 w 9204404"/>
              <a:gd name="connsiteY1" fmla="*/ 0 h 6867508"/>
              <a:gd name="connsiteX2" fmla="*/ 9045470 w 9204404"/>
              <a:gd name="connsiteY2" fmla="*/ 2381 h 6867508"/>
              <a:gd name="connsiteX3" fmla="*/ 9050232 w 9204404"/>
              <a:gd name="connsiteY3" fmla="*/ 109537 h 6867508"/>
              <a:gd name="connsiteX4" fmla="*/ 6949969 w 9204404"/>
              <a:gd name="connsiteY4" fmla="*/ 109537 h 6867508"/>
              <a:gd name="connsiteX5" fmla="*/ 6949969 w 9204404"/>
              <a:gd name="connsiteY5" fmla="*/ 1057275 h 6867508"/>
              <a:gd name="connsiteX6" fmla="*/ 9050233 w 9204404"/>
              <a:gd name="connsiteY6" fmla="*/ 1057275 h 6867508"/>
              <a:gd name="connsiteX7" fmla="*/ 9045470 w 9204404"/>
              <a:gd name="connsiteY7" fmla="*/ 2381 h 6867508"/>
              <a:gd name="connsiteX8" fmla="*/ 9150235 w 9204404"/>
              <a:gd name="connsiteY8" fmla="*/ 141 h 6867508"/>
              <a:gd name="connsiteX9" fmla="*/ 9150246 w 9204404"/>
              <a:gd name="connsiteY9" fmla="*/ 6862762 h 6867508"/>
              <a:gd name="connsiteX10" fmla="*/ 0 w 9204404"/>
              <a:gd name="connsiteY10" fmla="*/ 6867508 h 6867508"/>
              <a:gd name="connsiteX11" fmla="*/ 6255 w 9204404"/>
              <a:gd name="connsiteY11" fmla="*/ 141 h 6867508"/>
              <a:gd name="connsiteX0" fmla="*/ 6255 w 9204404"/>
              <a:gd name="connsiteY0" fmla="*/ 141 h 6867508"/>
              <a:gd name="connsiteX1" fmla="*/ 4578245 w 9204404"/>
              <a:gd name="connsiteY1" fmla="*/ 0 h 6867508"/>
              <a:gd name="connsiteX2" fmla="*/ 9045470 w 9204404"/>
              <a:gd name="connsiteY2" fmla="*/ 2381 h 6867508"/>
              <a:gd name="connsiteX3" fmla="*/ 9050232 w 9204404"/>
              <a:gd name="connsiteY3" fmla="*/ 109537 h 6867508"/>
              <a:gd name="connsiteX4" fmla="*/ 6949969 w 9204404"/>
              <a:gd name="connsiteY4" fmla="*/ 109537 h 6867508"/>
              <a:gd name="connsiteX5" fmla="*/ 6949969 w 9204404"/>
              <a:gd name="connsiteY5" fmla="*/ 1057275 h 6867508"/>
              <a:gd name="connsiteX6" fmla="*/ 9050233 w 9204404"/>
              <a:gd name="connsiteY6" fmla="*/ 1057275 h 6867508"/>
              <a:gd name="connsiteX7" fmla="*/ 9045470 w 9204404"/>
              <a:gd name="connsiteY7" fmla="*/ 2381 h 6867508"/>
              <a:gd name="connsiteX8" fmla="*/ 9150235 w 9204404"/>
              <a:gd name="connsiteY8" fmla="*/ 141 h 6867508"/>
              <a:gd name="connsiteX9" fmla="*/ 9150246 w 9204404"/>
              <a:gd name="connsiteY9" fmla="*/ 6862762 h 6867508"/>
              <a:gd name="connsiteX10" fmla="*/ 0 w 9204404"/>
              <a:gd name="connsiteY10" fmla="*/ 6867508 h 6867508"/>
              <a:gd name="connsiteX11" fmla="*/ 6255 w 9204404"/>
              <a:gd name="connsiteY11" fmla="*/ 141 h 6867508"/>
              <a:gd name="connsiteX0" fmla="*/ 6255 w 9204404"/>
              <a:gd name="connsiteY0" fmla="*/ 141 h 6867508"/>
              <a:gd name="connsiteX1" fmla="*/ 4578245 w 9204404"/>
              <a:gd name="connsiteY1" fmla="*/ 0 h 6867508"/>
              <a:gd name="connsiteX2" fmla="*/ 9045470 w 9204404"/>
              <a:gd name="connsiteY2" fmla="*/ 2381 h 6867508"/>
              <a:gd name="connsiteX3" fmla="*/ 9050232 w 9204404"/>
              <a:gd name="connsiteY3" fmla="*/ 109537 h 6867508"/>
              <a:gd name="connsiteX4" fmla="*/ 6949969 w 9204404"/>
              <a:gd name="connsiteY4" fmla="*/ 109537 h 6867508"/>
              <a:gd name="connsiteX5" fmla="*/ 6949969 w 9204404"/>
              <a:gd name="connsiteY5" fmla="*/ 1057275 h 6867508"/>
              <a:gd name="connsiteX6" fmla="*/ 9050233 w 9204404"/>
              <a:gd name="connsiteY6" fmla="*/ 1057275 h 6867508"/>
              <a:gd name="connsiteX7" fmla="*/ 9045470 w 9204404"/>
              <a:gd name="connsiteY7" fmla="*/ 2381 h 6867508"/>
              <a:gd name="connsiteX8" fmla="*/ 9150235 w 9204404"/>
              <a:gd name="connsiteY8" fmla="*/ 141 h 6867508"/>
              <a:gd name="connsiteX9" fmla="*/ 9150246 w 9204404"/>
              <a:gd name="connsiteY9" fmla="*/ 6862762 h 6867508"/>
              <a:gd name="connsiteX10" fmla="*/ 0 w 9204404"/>
              <a:gd name="connsiteY10" fmla="*/ 6867508 h 6867508"/>
              <a:gd name="connsiteX11" fmla="*/ 6255 w 9204404"/>
              <a:gd name="connsiteY11" fmla="*/ 141 h 6867508"/>
              <a:gd name="connsiteX0" fmla="*/ 6255 w 9204404"/>
              <a:gd name="connsiteY0" fmla="*/ 141 h 6867508"/>
              <a:gd name="connsiteX1" fmla="*/ 4578245 w 9204404"/>
              <a:gd name="connsiteY1" fmla="*/ 0 h 6867508"/>
              <a:gd name="connsiteX2" fmla="*/ 9045470 w 9204404"/>
              <a:gd name="connsiteY2" fmla="*/ 2381 h 6867508"/>
              <a:gd name="connsiteX3" fmla="*/ 8995463 w 9204404"/>
              <a:gd name="connsiteY3" fmla="*/ 80962 h 6867508"/>
              <a:gd name="connsiteX4" fmla="*/ 6949969 w 9204404"/>
              <a:gd name="connsiteY4" fmla="*/ 109537 h 6867508"/>
              <a:gd name="connsiteX5" fmla="*/ 6949969 w 9204404"/>
              <a:gd name="connsiteY5" fmla="*/ 1057275 h 6867508"/>
              <a:gd name="connsiteX6" fmla="*/ 9050233 w 9204404"/>
              <a:gd name="connsiteY6" fmla="*/ 1057275 h 6867508"/>
              <a:gd name="connsiteX7" fmla="*/ 9045470 w 9204404"/>
              <a:gd name="connsiteY7" fmla="*/ 2381 h 6867508"/>
              <a:gd name="connsiteX8" fmla="*/ 9150235 w 9204404"/>
              <a:gd name="connsiteY8" fmla="*/ 141 h 6867508"/>
              <a:gd name="connsiteX9" fmla="*/ 9150246 w 9204404"/>
              <a:gd name="connsiteY9" fmla="*/ 6862762 h 6867508"/>
              <a:gd name="connsiteX10" fmla="*/ 0 w 9204404"/>
              <a:gd name="connsiteY10" fmla="*/ 6867508 h 6867508"/>
              <a:gd name="connsiteX11" fmla="*/ 6255 w 9204404"/>
              <a:gd name="connsiteY11" fmla="*/ 141 h 6867508"/>
              <a:gd name="connsiteX0" fmla="*/ 6255 w 9205631"/>
              <a:gd name="connsiteY0" fmla="*/ 142 h 6867509"/>
              <a:gd name="connsiteX1" fmla="*/ 4578245 w 9205631"/>
              <a:gd name="connsiteY1" fmla="*/ 1 h 6867509"/>
              <a:gd name="connsiteX2" fmla="*/ 9045470 w 9205631"/>
              <a:gd name="connsiteY2" fmla="*/ 2382 h 6867509"/>
              <a:gd name="connsiteX3" fmla="*/ 8995463 w 9205631"/>
              <a:gd name="connsiteY3" fmla="*/ 80963 h 6867509"/>
              <a:gd name="connsiteX4" fmla="*/ 6949969 w 9205631"/>
              <a:gd name="connsiteY4" fmla="*/ 109538 h 6867509"/>
              <a:gd name="connsiteX5" fmla="*/ 6949969 w 9205631"/>
              <a:gd name="connsiteY5" fmla="*/ 1057276 h 6867509"/>
              <a:gd name="connsiteX6" fmla="*/ 9050233 w 9205631"/>
              <a:gd name="connsiteY6" fmla="*/ 1057276 h 6867509"/>
              <a:gd name="connsiteX7" fmla="*/ 9050232 w 9205631"/>
              <a:gd name="connsiteY7" fmla="*/ 0 h 6867509"/>
              <a:gd name="connsiteX8" fmla="*/ 9150235 w 9205631"/>
              <a:gd name="connsiteY8" fmla="*/ 142 h 6867509"/>
              <a:gd name="connsiteX9" fmla="*/ 9150246 w 9205631"/>
              <a:gd name="connsiteY9" fmla="*/ 6862763 h 6867509"/>
              <a:gd name="connsiteX10" fmla="*/ 0 w 9205631"/>
              <a:gd name="connsiteY10" fmla="*/ 6867509 h 6867509"/>
              <a:gd name="connsiteX11" fmla="*/ 6255 w 9205631"/>
              <a:gd name="connsiteY11" fmla="*/ 142 h 6867509"/>
              <a:gd name="connsiteX0" fmla="*/ 6255 w 9211483"/>
              <a:gd name="connsiteY0" fmla="*/ 142 h 6867509"/>
              <a:gd name="connsiteX1" fmla="*/ 4578245 w 9211483"/>
              <a:gd name="connsiteY1" fmla="*/ 1 h 6867509"/>
              <a:gd name="connsiteX2" fmla="*/ 9045470 w 9211483"/>
              <a:gd name="connsiteY2" fmla="*/ 2382 h 6867509"/>
              <a:gd name="connsiteX3" fmla="*/ 8995463 w 9211483"/>
              <a:gd name="connsiteY3" fmla="*/ 80963 h 6867509"/>
              <a:gd name="connsiteX4" fmla="*/ 6949969 w 9211483"/>
              <a:gd name="connsiteY4" fmla="*/ 109538 h 6867509"/>
              <a:gd name="connsiteX5" fmla="*/ 6949969 w 9211483"/>
              <a:gd name="connsiteY5" fmla="*/ 1057276 h 6867509"/>
              <a:gd name="connsiteX6" fmla="*/ 9050233 w 9211483"/>
              <a:gd name="connsiteY6" fmla="*/ 1057276 h 6867509"/>
              <a:gd name="connsiteX7" fmla="*/ 9066901 w 9211483"/>
              <a:gd name="connsiteY7" fmla="*/ 147640 h 6867509"/>
              <a:gd name="connsiteX8" fmla="*/ 9050232 w 9211483"/>
              <a:gd name="connsiteY8" fmla="*/ 0 h 6867509"/>
              <a:gd name="connsiteX9" fmla="*/ 9150235 w 9211483"/>
              <a:gd name="connsiteY9" fmla="*/ 142 h 6867509"/>
              <a:gd name="connsiteX10" fmla="*/ 9150246 w 9211483"/>
              <a:gd name="connsiteY10" fmla="*/ 6862763 h 6867509"/>
              <a:gd name="connsiteX11" fmla="*/ 0 w 9211483"/>
              <a:gd name="connsiteY11" fmla="*/ 6867509 h 6867509"/>
              <a:gd name="connsiteX12" fmla="*/ 6255 w 9211483"/>
              <a:gd name="connsiteY12" fmla="*/ 142 h 6867509"/>
              <a:gd name="connsiteX0" fmla="*/ 6255 w 9209558"/>
              <a:gd name="connsiteY0" fmla="*/ 142 h 6867509"/>
              <a:gd name="connsiteX1" fmla="*/ 4578245 w 9209558"/>
              <a:gd name="connsiteY1" fmla="*/ 1 h 6867509"/>
              <a:gd name="connsiteX2" fmla="*/ 9045470 w 9209558"/>
              <a:gd name="connsiteY2" fmla="*/ 2382 h 6867509"/>
              <a:gd name="connsiteX3" fmla="*/ 8995463 w 9209558"/>
              <a:gd name="connsiteY3" fmla="*/ 80963 h 6867509"/>
              <a:gd name="connsiteX4" fmla="*/ 6949969 w 9209558"/>
              <a:gd name="connsiteY4" fmla="*/ 109538 h 6867509"/>
              <a:gd name="connsiteX5" fmla="*/ 6949969 w 9209558"/>
              <a:gd name="connsiteY5" fmla="*/ 1057276 h 6867509"/>
              <a:gd name="connsiteX6" fmla="*/ 9050233 w 9209558"/>
              <a:gd name="connsiteY6" fmla="*/ 1057276 h 6867509"/>
              <a:gd name="connsiteX7" fmla="*/ 9066901 w 9209558"/>
              <a:gd name="connsiteY7" fmla="*/ 147640 h 6867509"/>
              <a:gd name="connsiteX8" fmla="*/ 9050232 w 9209558"/>
              <a:gd name="connsiteY8" fmla="*/ 0 h 6867509"/>
              <a:gd name="connsiteX9" fmla="*/ 9150235 w 9209558"/>
              <a:gd name="connsiteY9" fmla="*/ 142 h 6867509"/>
              <a:gd name="connsiteX10" fmla="*/ 9150246 w 9209558"/>
              <a:gd name="connsiteY10" fmla="*/ 6862763 h 6867509"/>
              <a:gd name="connsiteX11" fmla="*/ 0 w 9209558"/>
              <a:gd name="connsiteY11" fmla="*/ 6867509 h 6867509"/>
              <a:gd name="connsiteX12" fmla="*/ 6255 w 9209558"/>
              <a:gd name="connsiteY12" fmla="*/ 142 h 6867509"/>
              <a:gd name="connsiteX0" fmla="*/ 6255 w 9209558"/>
              <a:gd name="connsiteY0" fmla="*/ 142 h 6867509"/>
              <a:gd name="connsiteX1" fmla="*/ 4578245 w 9209558"/>
              <a:gd name="connsiteY1" fmla="*/ 1 h 6867509"/>
              <a:gd name="connsiteX2" fmla="*/ 9045470 w 9209558"/>
              <a:gd name="connsiteY2" fmla="*/ 2382 h 6867509"/>
              <a:gd name="connsiteX3" fmla="*/ 8995463 w 9209558"/>
              <a:gd name="connsiteY3" fmla="*/ 80963 h 6867509"/>
              <a:gd name="connsiteX4" fmla="*/ 6949969 w 9209558"/>
              <a:gd name="connsiteY4" fmla="*/ 109538 h 6867509"/>
              <a:gd name="connsiteX5" fmla="*/ 6949969 w 9209558"/>
              <a:gd name="connsiteY5" fmla="*/ 1057276 h 6867509"/>
              <a:gd name="connsiteX6" fmla="*/ 9050233 w 9209558"/>
              <a:gd name="connsiteY6" fmla="*/ 1057276 h 6867509"/>
              <a:gd name="connsiteX7" fmla="*/ 9066901 w 9209558"/>
              <a:gd name="connsiteY7" fmla="*/ 147640 h 6867509"/>
              <a:gd name="connsiteX8" fmla="*/ 9050232 w 9209558"/>
              <a:gd name="connsiteY8" fmla="*/ 0 h 6867509"/>
              <a:gd name="connsiteX9" fmla="*/ 9150235 w 9209558"/>
              <a:gd name="connsiteY9" fmla="*/ 142 h 6867509"/>
              <a:gd name="connsiteX10" fmla="*/ 9150246 w 9209558"/>
              <a:gd name="connsiteY10" fmla="*/ 6862763 h 6867509"/>
              <a:gd name="connsiteX11" fmla="*/ 0 w 9209558"/>
              <a:gd name="connsiteY11" fmla="*/ 6867509 h 6867509"/>
              <a:gd name="connsiteX12" fmla="*/ 6255 w 9209558"/>
              <a:gd name="connsiteY12" fmla="*/ 142 h 6867509"/>
              <a:gd name="connsiteX0" fmla="*/ 6255 w 9209558"/>
              <a:gd name="connsiteY0" fmla="*/ 142 h 6867509"/>
              <a:gd name="connsiteX1" fmla="*/ 4578245 w 9209558"/>
              <a:gd name="connsiteY1" fmla="*/ 1 h 6867509"/>
              <a:gd name="connsiteX2" fmla="*/ 9045470 w 9209558"/>
              <a:gd name="connsiteY2" fmla="*/ 2382 h 6867509"/>
              <a:gd name="connsiteX3" fmla="*/ 8995463 w 9209558"/>
              <a:gd name="connsiteY3" fmla="*/ 80963 h 6867509"/>
              <a:gd name="connsiteX4" fmla="*/ 6949969 w 9209558"/>
              <a:gd name="connsiteY4" fmla="*/ 109538 h 6867509"/>
              <a:gd name="connsiteX5" fmla="*/ 6949969 w 9209558"/>
              <a:gd name="connsiteY5" fmla="*/ 1057276 h 6867509"/>
              <a:gd name="connsiteX6" fmla="*/ 9050233 w 9209558"/>
              <a:gd name="connsiteY6" fmla="*/ 1057276 h 6867509"/>
              <a:gd name="connsiteX7" fmla="*/ 9066901 w 9209558"/>
              <a:gd name="connsiteY7" fmla="*/ 147640 h 6867509"/>
              <a:gd name="connsiteX8" fmla="*/ 9050232 w 9209558"/>
              <a:gd name="connsiteY8" fmla="*/ 0 h 6867509"/>
              <a:gd name="connsiteX9" fmla="*/ 9150235 w 9209558"/>
              <a:gd name="connsiteY9" fmla="*/ 142 h 6867509"/>
              <a:gd name="connsiteX10" fmla="*/ 9150246 w 9209558"/>
              <a:gd name="connsiteY10" fmla="*/ 6862763 h 6867509"/>
              <a:gd name="connsiteX11" fmla="*/ 0 w 9209558"/>
              <a:gd name="connsiteY11" fmla="*/ 6867509 h 6867509"/>
              <a:gd name="connsiteX12" fmla="*/ 6255 w 9209558"/>
              <a:gd name="connsiteY12" fmla="*/ 142 h 6867509"/>
              <a:gd name="connsiteX0" fmla="*/ 6255 w 9209558"/>
              <a:gd name="connsiteY0" fmla="*/ 142 h 6867509"/>
              <a:gd name="connsiteX1" fmla="*/ 4578245 w 9209558"/>
              <a:gd name="connsiteY1" fmla="*/ 1 h 6867509"/>
              <a:gd name="connsiteX2" fmla="*/ 9045470 w 9209558"/>
              <a:gd name="connsiteY2" fmla="*/ 2382 h 6867509"/>
              <a:gd name="connsiteX3" fmla="*/ 8995463 w 9209558"/>
              <a:gd name="connsiteY3" fmla="*/ 80963 h 6867509"/>
              <a:gd name="connsiteX4" fmla="*/ 6949969 w 9209558"/>
              <a:gd name="connsiteY4" fmla="*/ 109538 h 6867509"/>
              <a:gd name="connsiteX5" fmla="*/ 6949969 w 9209558"/>
              <a:gd name="connsiteY5" fmla="*/ 1057276 h 6867509"/>
              <a:gd name="connsiteX6" fmla="*/ 9050233 w 9209558"/>
              <a:gd name="connsiteY6" fmla="*/ 1057276 h 6867509"/>
              <a:gd name="connsiteX7" fmla="*/ 9066901 w 9209558"/>
              <a:gd name="connsiteY7" fmla="*/ 147640 h 6867509"/>
              <a:gd name="connsiteX8" fmla="*/ 9050232 w 9209558"/>
              <a:gd name="connsiteY8" fmla="*/ 0 h 6867509"/>
              <a:gd name="connsiteX9" fmla="*/ 9150235 w 9209558"/>
              <a:gd name="connsiteY9" fmla="*/ 142 h 6867509"/>
              <a:gd name="connsiteX10" fmla="*/ 9150246 w 9209558"/>
              <a:gd name="connsiteY10" fmla="*/ 6862763 h 6867509"/>
              <a:gd name="connsiteX11" fmla="*/ 0 w 9209558"/>
              <a:gd name="connsiteY11" fmla="*/ 6867509 h 6867509"/>
              <a:gd name="connsiteX12" fmla="*/ 6255 w 9209558"/>
              <a:gd name="connsiteY12" fmla="*/ 142 h 6867509"/>
              <a:gd name="connsiteX0" fmla="*/ 6255 w 9205207"/>
              <a:gd name="connsiteY0" fmla="*/ 142 h 6867509"/>
              <a:gd name="connsiteX1" fmla="*/ 4578245 w 9205207"/>
              <a:gd name="connsiteY1" fmla="*/ 1 h 6867509"/>
              <a:gd name="connsiteX2" fmla="*/ 9045470 w 9205207"/>
              <a:gd name="connsiteY2" fmla="*/ 2382 h 6867509"/>
              <a:gd name="connsiteX3" fmla="*/ 8995463 w 9205207"/>
              <a:gd name="connsiteY3" fmla="*/ 80963 h 6867509"/>
              <a:gd name="connsiteX4" fmla="*/ 6949969 w 9205207"/>
              <a:gd name="connsiteY4" fmla="*/ 109538 h 6867509"/>
              <a:gd name="connsiteX5" fmla="*/ 6949969 w 9205207"/>
              <a:gd name="connsiteY5" fmla="*/ 1057276 h 6867509"/>
              <a:gd name="connsiteX6" fmla="*/ 9050233 w 9205207"/>
              <a:gd name="connsiteY6" fmla="*/ 1057276 h 6867509"/>
              <a:gd name="connsiteX7" fmla="*/ 9050233 w 9205207"/>
              <a:gd name="connsiteY7" fmla="*/ 109540 h 6867509"/>
              <a:gd name="connsiteX8" fmla="*/ 9050232 w 9205207"/>
              <a:gd name="connsiteY8" fmla="*/ 0 h 6867509"/>
              <a:gd name="connsiteX9" fmla="*/ 9150235 w 9205207"/>
              <a:gd name="connsiteY9" fmla="*/ 142 h 6867509"/>
              <a:gd name="connsiteX10" fmla="*/ 9150246 w 9205207"/>
              <a:gd name="connsiteY10" fmla="*/ 6862763 h 6867509"/>
              <a:gd name="connsiteX11" fmla="*/ 0 w 9205207"/>
              <a:gd name="connsiteY11" fmla="*/ 6867509 h 6867509"/>
              <a:gd name="connsiteX12" fmla="*/ 6255 w 9205207"/>
              <a:gd name="connsiteY12" fmla="*/ 142 h 6867509"/>
              <a:gd name="connsiteX0" fmla="*/ 6255 w 9225698"/>
              <a:gd name="connsiteY0" fmla="*/ 142 h 6867509"/>
              <a:gd name="connsiteX1" fmla="*/ 4578245 w 9225698"/>
              <a:gd name="connsiteY1" fmla="*/ 1 h 6867509"/>
              <a:gd name="connsiteX2" fmla="*/ 9045470 w 9225698"/>
              <a:gd name="connsiteY2" fmla="*/ 2382 h 6867509"/>
              <a:gd name="connsiteX3" fmla="*/ 8995463 w 9225698"/>
              <a:gd name="connsiteY3" fmla="*/ 80963 h 6867509"/>
              <a:gd name="connsiteX4" fmla="*/ 6949969 w 9225698"/>
              <a:gd name="connsiteY4" fmla="*/ 109538 h 6867509"/>
              <a:gd name="connsiteX5" fmla="*/ 6949969 w 9225698"/>
              <a:gd name="connsiteY5" fmla="*/ 1057276 h 6867509"/>
              <a:gd name="connsiteX6" fmla="*/ 9050233 w 9225698"/>
              <a:gd name="connsiteY6" fmla="*/ 1057276 h 6867509"/>
              <a:gd name="connsiteX7" fmla="*/ 9050233 w 9225698"/>
              <a:gd name="connsiteY7" fmla="*/ 109540 h 6867509"/>
              <a:gd name="connsiteX8" fmla="*/ 9050232 w 9225698"/>
              <a:gd name="connsiteY8" fmla="*/ 0 h 6867509"/>
              <a:gd name="connsiteX9" fmla="*/ 9150235 w 9225698"/>
              <a:gd name="connsiteY9" fmla="*/ 142 h 6867509"/>
              <a:gd name="connsiteX10" fmla="*/ 9150246 w 9225698"/>
              <a:gd name="connsiteY10" fmla="*/ 6862763 h 6867509"/>
              <a:gd name="connsiteX11" fmla="*/ 0 w 9225698"/>
              <a:gd name="connsiteY11" fmla="*/ 6867509 h 6867509"/>
              <a:gd name="connsiteX12" fmla="*/ 6255 w 9225698"/>
              <a:gd name="connsiteY12" fmla="*/ 142 h 6867509"/>
              <a:gd name="connsiteX0" fmla="*/ 6255 w 9225698"/>
              <a:gd name="connsiteY0" fmla="*/ 141 h 6867508"/>
              <a:gd name="connsiteX1" fmla="*/ 4578245 w 9225698"/>
              <a:gd name="connsiteY1" fmla="*/ 0 h 6867508"/>
              <a:gd name="connsiteX2" fmla="*/ 9045470 w 9225698"/>
              <a:gd name="connsiteY2" fmla="*/ 2381 h 6867508"/>
              <a:gd name="connsiteX3" fmla="*/ 8995463 w 9225698"/>
              <a:gd name="connsiteY3" fmla="*/ 80962 h 6867508"/>
              <a:gd name="connsiteX4" fmla="*/ 6949969 w 9225698"/>
              <a:gd name="connsiteY4" fmla="*/ 109537 h 6867508"/>
              <a:gd name="connsiteX5" fmla="*/ 6949969 w 9225698"/>
              <a:gd name="connsiteY5" fmla="*/ 1057275 h 6867508"/>
              <a:gd name="connsiteX6" fmla="*/ 9050233 w 9225698"/>
              <a:gd name="connsiteY6" fmla="*/ 1057275 h 6867508"/>
              <a:gd name="connsiteX7" fmla="*/ 9050233 w 9225698"/>
              <a:gd name="connsiteY7" fmla="*/ 109539 h 6867508"/>
              <a:gd name="connsiteX8" fmla="*/ 9088332 w 9225698"/>
              <a:gd name="connsiteY8" fmla="*/ 2380 h 6867508"/>
              <a:gd name="connsiteX9" fmla="*/ 9150235 w 9225698"/>
              <a:gd name="connsiteY9" fmla="*/ 141 h 6867508"/>
              <a:gd name="connsiteX10" fmla="*/ 9150246 w 9225698"/>
              <a:gd name="connsiteY10" fmla="*/ 6862762 h 6867508"/>
              <a:gd name="connsiteX11" fmla="*/ 0 w 9225698"/>
              <a:gd name="connsiteY11" fmla="*/ 6867508 h 6867508"/>
              <a:gd name="connsiteX12" fmla="*/ 6255 w 9225698"/>
              <a:gd name="connsiteY12" fmla="*/ 141 h 6867508"/>
              <a:gd name="connsiteX0" fmla="*/ 6255 w 9225698"/>
              <a:gd name="connsiteY0" fmla="*/ 142 h 6867509"/>
              <a:gd name="connsiteX1" fmla="*/ 4578245 w 9225698"/>
              <a:gd name="connsiteY1" fmla="*/ 1 h 6867509"/>
              <a:gd name="connsiteX2" fmla="*/ 9045470 w 9225698"/>
              <a:gd name="connsiteY2" fmla="*/ 2382 h 6867509"/>
              <a:gd name="connsiteX3" fmla="*/ 8995463 w 9225698"/>
              <a:gd name="connsiteY3" fmla="*/ 80963 h 6867509"/>
              <a:gd name="connsiteX4" fmla="*/ 6949969 w 9225698"/>
              <a:gd name="connsiteY4" fmla="*/ 109538 h 6867509"/>
              <a:gd name="connsiteX5" fmla="*/ 6949969 w 9225698"/>
              <a:gd name="connsiteY5" fmla="*/ 1057276 h 6867509"/>
              <a:gd name="connsiteX6" fmla="*/ 9050233 w 9225698"/>
              <a:gd name="connsiteY6" fmla="*/ 1057276 h 6867509"/>
              <a:gd name="connsiteX7" fmla="*/ 9050233 w 9225698"/>
              <a:gd name="connsiteY7" fmla="*/ 109540 h 6867509"/>
              <a:gd name="connsiteX8" fmla="*/ 9052613 w 9225698"/>
              <a:gd name="connsiteY8" fmla="*/ 0 h 6867509"/>
              <a:gd name="connsiteX9" fmla="*/ 9150235 w 9225698"/>
              <a:gd name="connsiteY9" fmla="*/ 142 h 6867509"/>
              <a:gd name="connsiteX10" fmla="*/ 9150246 w 9225698"/>
              <a:gd name="connsiteY10" fmla="*/ 6862763 h 6867509"/>
              <a:gd name="connsiteX11" fmla="*/ 0 w 9225698"/>
              <a:gd name="connsiteY11" fmla="*/ 6867509 h 6867509"/>
              <a:gd name="connsiteX12" fmla="*/ 6255 w 9225698"/>
              <a:gd name="connsiteY12" fmla="*/ 142 h 6867509"/>
              <a:gd name="connsiteX0" fmla="*/ 6255 w 9225698"/>
              <a:gd name="connsiteY0" fmla="*/ 142 h 6867509"/>
              <a:gd name="connsiteX1" fmla="*/ 4578245 w 9225698"/>
              <a:gd name="connsiteY1" fmla="*/ 1 h 6867509"/>
              <a:gd name="connsiteX2" fmla="*/ 9045470 w 9225698"/>
              <a:gd name="connsiteY2" fmla="*/ 2382 h 6867509"/>
              <a:gd name="connsiteX3" fmla="*/ 8995463 w 9225698"/>
              <a:gd name="connsiteY3" fmla="*/ 80963 h 6867509"/>
              <a:gd name="connsiteX4" fmla="*/ 6949969 w 9225698"/>
              <a:gd name="connsiteY4" fmla="*/ 109538 h 6867509"/>
              <a:gd name="connsiteX5" fmla="*/ 6949969 w 9225698"/>
              <a:gd name="connsiteY5" fmla="*/ 1057276 h 6867509"/>
              <a:gd name="connsiteX6" fmla="*/ 9050233 w 9225698"/>
              <a:gd name="connsiteY6" fmla="*/ 1057276 h 6867509"/>
              <a:gd name="connsiteX7" fmla="*/ 9050233 w 9225698"/>
              <a:gd name="connsiteY7" fmla="*/ 109540 h 6867509"/>
              <a:gd name="connsiteX8" fmla="*/ 9052613 w 9225698"/>
              <a:gd name="connsiteY8" fmla="*/ 0 h 6867509"/>
              <a:gd name="connsiteX9" fmla="*/ 9150235 w 9225698"/>
              <a:gd name="connsiteY9" fmla="*/ 142 h 6867509"/>
              <a:gd name="connsiteX10" fmla="*/ 9150246 w 9225698"/>
              <a:gd name="connsiteY10" fmla="*/ 6862763 h 6867509"/>
              <a:gd name="connsiteX11" fmla="*/ 0 w 9225698"/>
              <a:gd name="connsiteY11" fmla="*/ 6867509 h 6867509"/>
              <a:gd name="connsiteX12" fmla="*/ 6255 w 9225698"/>
              <a:gd name="connsiteY12" fmla="*/ 142 h 6867509"/>
              <a:gd name="connsiteX0" fmla="*/ 6255 w 9225698"/>
              <a:gd name="connsiteY0" fmla="*/ 142 h 6867509"/>
              <a:gd name="connsiteX1" fmla="*/ 4578245 w 9225698"/>
              <a:gd name="connsiteY1" fmla="*/ 1 h 6867509"/>
              <a:gd name="connsiteX2" fmla="*/ 9045470 w 9225698"/>
              <a:gd name="connsiteY2" fmla="*/ 2382 h 6867509"/>
              <a:gd name="connsiteX3" fmla="*/ 8995463 w 9225698"/>
              <a:gd name="connsiteY3" fmla="*/ 80963 h 6867509"/>
              <a:gd name="connsiteX4" fmla="*/ 6949969 w 9225698"/>
              <a:gd name="connsiteY4" fmla="*/ 109538 h 6867509"/>
              <a:gd name="connsiteX5" fmla="*/ 6949969 w 9225698"/>
              <a:gd name="connsiteY5" fmla="*/ 1057276 h 6867509"/>
              <a:gd name="connsiteX6" fmla="*/ 9050233 w 9225698"/>
              <a:gd name="connsiteY6" fmla="*/ 1057276 h 6867509"/>
              <a:gd name="connsiteX7" fmla="*/ 9050233 w 9225698"/>
              <a:gd name="connsiteY7" fmla="*/ 109540 h 6867509"/>
              <a:gd name="connsiteX8" fmla="*/ 9050232 w 9225698"/>
              <a:gd name="connsiteY8" fmla="*/ 0 h 6867509"/>
              <a:gd name="connsiteX9" fmla="*/ 9150235 w 9225698"/>
              <a:gd name="connsiteY9" fmla="*/ 142 h 6867509"/>
              <a:gd name="connsiteX10" fmla="*/ 9150246 w 9225698"/>
              <a:gd name="connsiteY10" fmla="*/ 6862763 h 6867509"/>
              <a:gd name="connsiteX11" fmla="*/ 0 w 9225698"/>
              <a:gd name="connsiteY11" fmla="*/ 6867509 h 6867509"/>
              <a:gd name="connsiteX12" fmla="*/ 6255 w 9225698"/>
              <a:gd name="connsiteY12" fmla="*/ 142 h 6867509"/>
              <a:gd name="connsiteX0" fmla="*/ 6255 w 9225698"/>
              <a:gd name="connsiteY0" fmla="*/ 142 h 6867509"/>
              <a:gd name="connsiteX1" fmla="*/ 4578245 w 9225698"/>
              <a:gd name="connsiteY1" fmla="*/ 1 h 6867509"/>
              <a:gd name="connsiteX2" fmla="*/ 9045470 w 9225698"/>
              <a:gd name="connsiteY2" fmla="*/ 2382 h 6867509"/>
              <a:gd name="connsiteX3" fmla="*/ 8995463 w 9225698"/>
              <a:gd name="connsiteY3" fmla="*/ 80963 h 6867509"/>
              <a:gd name="connsiteX4" fmla="*/ 6949969 w 9225698"/>
              <a:gd name="connsiteY4" fmla="*/ 109538 h 6867509"/>
              <a:gd name="connsiteX5" fmla="*/ 6949969 w 9225698"/>
              <a:gd name="connsiteY5" fmla="*/ 1057276 h 6867509"/>
              <a:gd name="connsiteX6" fmla="*/ 9050233 w 9225698"/>
              <a:gd name="connsiteY6" fmla="*/ 1057276 h 6867509"/>
              <a:gd name="connsiteX7" fmla="*/ 9050233 w 9225698"/>
              <a:gd name="connsiteY7" fmla="*/ 111922 h 6867509"/>
              <a:gd name="connsiteX8" fmla="*/ 9050232 w 9225698"/>
              <a:gd name="connsiteY8" fmla="*/ 0 h 6867509"/>
              <a:gd name="connsiteX9" fmla="*/ 9150235 w 9225698"/>
              <a:gd name="connsiteY9" fmla="*/ 142 h 6867509"/>
              <a:gd name="connsiteX10" fmla="*/ 9150246 w 9225698"/>
              <a:gd name="connsiteY10" fmla="*/ 6862763 h 6867509"/>
              <a:gd name="connsiteX11" fmla="*/ 0 w 9225698"/>
              <a:gd name="connsiteY11" fmla="*/ 6867509 h 6867509"/>
              <a:gd name="connsiteX12" fmla="*/ 6255 w 9225698"/>
              <a:gd name="connsiteY12" fmla="*/ 142 h 6867509"/>
              <a:gd name="connsiteX0" fmla="*/ 6255 w 9206778"/>
              <a:gd name="connsiteY0" fmla="*/ 142 h 6867509"/>
              <a:gd name="connsiteX1" fmla="*/ 4578245 w 9206778"/>
              <a:gd name="connsiteY1" fmla="*/ 1 h 6867509"/>
              <a:gd name="connsiteX2" fmla="*/ 9045470 w 9206778"/>
              <a:gd name="connsiteY2" fmla="*/ 2382 h 6867509"/>
              <a:gd name="connsiteX3" fmla="*/ 8995463 w 9206778"/>
              <a:gd name="connsiteY3" fmla="*/ 80963 h 6867509"/>
              <a:gd name="connsiteX4" fmla="*/ 6949969 w 9206778"/>
              <a:gd name="connsiteY4" fmla="*/ 109538 h 6867509"/>
              <a:gd name="connsiteX5" fmla="*/ 6949969 w 9206778"/>
              <a:gd name="connsiteY5" fmla="*/ 1057276 h 6867509"/>
              <a:gd name="connsiteX6" fmla="*/ 9050233 w 9206778"/>
              <a:gd name="connsiteY6" fmla="*/ 1057276 h 6867509"/>
              <a:gd name="connsiteX7" fmla="*/ 9050233 w 9206778"/>
              <a:gd name="connsiteY7" fmla="*/ 111922 h 6867509"/>
              <a:gd name="connsiteX8" fmla="*/ 9050232 w 9206778"/>
              <a:gd name="connsiteY8" fmla="*/ 0 h 6867509"/>
              <a:gd name="connsiteX9" fmla="*/ 9150235 w 9206778"/>
              <a:gd name="connsiteY9" fmla="*/ 142 h 6867509"/>
              <a:gd name="connsiteX10" fmla="*/ 9150246 w 9206778"/>
              <a:gd name="connsiteY10" fmla="*/ 6862763 h 6867509"/>
              <a:gd name="connsiteX11" fmla="*/ 0 w 9206778"/>
              <a:gd name="connsiteY11" fmla="*/ 6867509 h 6867509"/>
              <a:gd name="connsiteX12" fmla="*/ 6255 w 9206778"/>
              <a:gd name="connsiteY12" fmla="*/ 142 h 6867509"/>
              <a:gd name="connsiteX0" fmla="*/ 6255 w 9150246"/>
              <a:gd name="connsiteY0" fmla="*/ 142 h 6867509"/>
              <a:gd name="connsiteX1" fmla="*/ 4578245 w 9150246"/>
              <a:gd name="connsiteY1" fmla="*/ 1 h 6867509"/>
              <a:gd name="connsiteX2" fmla="*/ 9045470 w 9150246"/>
              <a:gd name="connsiteY2" fmla="*/ 2382 h 6867509"/>
              <a:gd name="connsiteX3" fmla="*/ 8995463 w 9150246"/>
              <a:gd name="connsiteY3" fmla="*/ 80963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50232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2 h 6867509"/>
              <a:gd name="connsiteX1" fmla="*/ 4578245 w 9150246"/>
              <a:gd name="connsiteY1" fmla="*/ 1 h 6867509"/>
              <a:gd name="connsiteX2" fmla="*/ 9045470 w 9150246"/>
              <a:gd name="connsiteY2" fmla="*/ 2382 h 6867509"/>
              <a:gd name="connsiteX3" fmla="*/ 8995463 w 9150246"/>
              <a:gd name="connsiteY3" fmla="*/ 80963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50232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2 h 6867509"/>
              <a:gd name="connsiteX1" fmla="*/ 4578245 w 9150246"/>
              <a:gd name="connsiteY1" fmla="*/ 1 h 6867509"/>
              <a:gd name="connsiteX2" fmla="*/ 9045470 w 9150246"/>
              <a:gd name="connsiteY2" fmla="*/ 2382 h 6867509"/>
              <a:gd name="connsiteX3" fmla="*/ 9004988 w 9150246"/>
              <a:gd name="connsiteY3" fmla="*/ 83345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50232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2 h 6867509"/>
              <a:gd name="connsiteX1" fmla="*/ 4578245 w 9150246"/>
              <a:gd name="connsiteY1" fmla="*/ 1 h 6867509"/>
              <a:gd name="connsiteX2" fmla="*/ 8981176 w 9150246"/>
              <a:gd name="connsiteY2" fmla="*/ 2383 h 6867509"/>
              <a:gd name="connsiteX3" fmla="*/ 9045470 w 9150246"/>
              <a:gd name="connsiteY3" fmla="*/ 2382 h 6867509"/>
              <a:gd name="connsiteX4" fmla="*/ 9004988 w 9150246"/>
              <a:gd name="connsiteY4" fmla="*/ 83345 h 6867509"/>
              <a:gd name="connsiteX5" fmla="*/ 6949969 w 9150246"/>
              <a:gd name="connsiteY5" fmla="*/ 109538 h 6867509"/>
              <a:gd name="connsiteX6" fmla="*/ 6949969 w 9150246"/>
              <a:gd name="connsiteY6" fmla="*/ 1057276 h 6867509"/>
              <a:gd name="connsiteX7" fmla="*/ 9050233 w 9150246"/>
              <a:gd name="connsiteY7" fmla="*/ 1057276 h 6867509"/>
              <a:gd name="connsiteX8" fmla="*/ 9050233 w 9150246"/>
              <a:gd name="connsiteY8" fmla="*/ 111922 h 6867509"/>
              <a:gd name="connsiteX9" fmla="*/ 9050232 w 9150246"/>
              <a:gd name="connsiteY9" fmla="*/ 0 h 6867509"/>
              <a:gd name="connsiteX10" fmla="*/ 9150235 w 9150246"/>
              <a:gd name="connsiteY10" fmla="*/ 142 h 6867509"/>
              <a:gd name="connsiteX11" fmla="*/ 9150246 w 9150246"/>
              <a:gd name="connsiteY11" fmla="*/ 6862763 h 6867509"/>
              <a:gd name="connsiteX12" fmla="*/ 0 w 9150246"/>
              <a:gd name="connsiteY12" fmla="*/ 6867509 h 6867509"/>
              <a:gd name="connsiteX13" fmla="*/ 6255 w 9150246"/>
              <a:gd name="connsiteY13" fmla="*/ 142 h 6867509"/>
              <a:gd name="connsiteX0" fmla="*/ 6255 w 9150246"/>
              <a:gd name="connsiteY0" fmla="*/ 142 h 6867509"/>
              <a:gd name="connsiteX1" fmla="*/ 4578245 w 9150246"/>
              <a:gd name="connsiteY1" fmla="*/ 1 h 6867509"/>
              <a:gd name="connsiteX2" fmla="*/ 8981176 w 9150246"/>
              <a:gd name="connsiteY2" fmla="*/ 2383 h 6867509"/>
              <a:gd name="connsiteX3" fmla="*/ 9045470 w 9150246"/>
              <a:gd name="connsiteY3" fmla="*/ 2382 h 6867509"/>
              <a:gd name="connsiteX4" fmla="*/ 9004988 w 9150246"/>
              <a:gd name="connsiteY4" fmla="*/ 83345 h 6867509"/>
              <a:gd name="connsiteX5" fmla="*/ 6949969 w 9150246"/>
              <a:gd name="connsiteY5" fmla="*/ 109538 h 6867509"/>
              <a:gd name="connsiteX6" fmla="*/ 6949969 w 9150246"/>
              <a:gd name="connsiteY6" fmla="*/ 1057276 h 6867509"/>
              <a:gd name="connsiteX7" fmla="*/ 9050233 w 9150246"/>
              <a:gd name="connsiteY7" fmla="*/ 1057276 h 6867509"/>
              <a:gd name="connsiteX8" fmla="*/ 9050233 w 9150246"/>
              <a:gd name="connsiteY8" fmla="*/ 111922 h 6867509"/>
              <a:gd name="connsiteX9" fmla="*/ 9078807 w 9150246"/>
              <a:gd name="connsiteY9" fmla="*/ 0 h 6867509"/>
              <a:gd name="connsiteX10" fmla="*/ 9150235 w 9150246"/>
              <a:gd name="connsiteY10" fmla="*/ 142 h 6867509"/>
              <a:gd name="connsiteX11" fmla="*/ 9150246 w 9150246"/>
              <a:gd name="connsiteY11" fmla="*/ 6862763 h 6867509"/>
              <a:gd name="connsiteX12" fmla="*/ 0 w 9150246"/>
              <a:gd name="connsiteY12" fmla="*/ 6867509 h 6867509"/>
              <a:gd name="connsiteX13" fmla="*/ 6255 w 9150246"/>
              <a:gd name="connsiteY13" fmla="*/ 142 h 6867509"/>
              <a:gd name="connsiteX0" fmla="*/ 6255 w 9150246"/>
              <a:gd name="connsiteY0" fmla="*/ 142 h 6867509"/>
              <a:gd name="connsiteX1" fmla="*/ 4578245 w 9150246"/>
              <a:gd name="connsiteY1" fmla="*/ 1 h 6867509"/>
              <a:gd name="connsiteX2" fmla="*/ 8981176 w 9150246"/>
              <a:gd name="connsiteY2" fmla="*/ 2383 h 6867509"/>
              <a:gd name="connsiteX3" fmla="*/ 9014514 w 9150246"/>
              <a:gd name="connsiteY3" fmla="*/ 2382 h 6867509"/>
              <a:gd name="connsiteX4" fmla="*/ 9004988 w 9150246"/>
              <a:gd name="connsiteY4" fmla="*/ 83345 h 6867509"/>
              <a:gd name="connsiteX5" fmla="*/ 6949969 w 9150246"/>
              <a:gd name="connsiteY5" fmla="*/ 109538 h 6867509"/>
              <a:gd name="connsiteX6" fmla="*/ 6949969 w 9150246"/>
              <a:gd name="connsiteY6" fmla="*/ 1057276 h 6867509"/>
              <a:gd name="connsiteX7" fmla="*/ 9050233 w 9150246"/>
              <a:gd name="connsiteY7" fmla="*/ 1057276 h 6867509"/>
              <a:gd name="connsiteX8" fmla="*/ 9050233 w 9150246"/>
              <a:gd name="connsiteY8" fmla="*/ 111922 h 6867509"/>
              <a:gd name="connsiteX9" fmla="*/ 9078807 w 9150246"/>
              <a:gd name="connsiteY9" fmla="*/ 0 h 6867509"/>
              <a:gd name="connsiteX10" fmla="*/ 9150235 w 9150246"/>
              <a:gd name="connsiteY10" fmla="*/ 142 h 6867509"/>
              <a:gd name="connsiteX11" fmla="*/ 9150246 w 9150246"/>
              <a:gd name="connsiteY11" fmla="*/ 6862763 h 6867509"/>
              <a:gd name="connsiteX12" fmla="*/ 0 w 9150246"/>
              <a:gd name="connsiteY12" fmla="*/ 6867509 h 6867509"/>
              <a:gd name="connsiteX13" fmla="*/ 6255 w 9150246"/>
              <a:gd name="connsiteY13" fmla="*/ 142 h 6867509"/>
              <a:gd name="connsiteX0" fmla="*/ 6255 w 9150246"/>
              <a:gd name="connsiteY0" fmla="*/ 142 h 6867509"/>
              <a:gd name="connsiteX1" fmla="*/ 4578245 w 9150246"/>
              <a:gd name="connsiteY1" fmla="*/ 1 h 6867509"/>
              <a:gd name="connsiteX2" fmla="*/ 8981176 w 9150246"/>
              <a:gd name="connsiteY2" fmla="*/ 2383 h 6867509"/>
              <a:gd name="connsiteX3" fmla="*/ 9014514 w 9150246"/>
              <a:gd name="connsiteY3" fmla="*/ 2382 h 6867509"/>
              <a:gd name="connsiteX4" fmla="*/ 9004988 w 9150246"/>
              <a:gd name="connsiteY4" fmla="*/ 83345 h 6867509"/>
              <a:gd name="connsiteX5" fmla="*/ 6949969 w 9150246"/>
              <a:gd name="connsiteY5" fmla="*/ 109538 h 6867509"/>
              <a:gd name="connsiteX6" fmla="*/ 6949969 w 9150246"/>
              <a:gd name="connsiteY6" fmla="*/ 1057276 h 6867509"/>
              <a:gd name="connsiteX7" fmla="*/ 9050233 w 9150246"/>
              <a:gd name="connsiteY7" fmla="*/ 1057276 h 6867509"/>
              <a:gd name="connsiteX8" fmla="*/ 9050233 w 9150246"/>
              <a:gd name="connsiteY8" fmla="*/ 111922 h 6867509"/>
              <a:gd name="connsiteX9" fmla="*/ 9078807 w 9150246"/>
              <a:gd name="connsiteY9" fmla="*/ 0 h 6867509"/>
              <a:gd name="connsiteX10" fmla="*/ 9150235 w 9150246"/>
              <a:gd name="connsiteY10" fmla="*/ 142 h 6867509"/>
              <a:gd name="connsiteX11" fmla="*/ 9150246 w 9150246"/>
              <a:gd name="connsiteY11" fmla="*/ 6862763 h 6867509"/>
              <a:gd name="connsiteX12" fmla="*/ 0 w 9150246"/>
              <a:gd name="connsiteY12" fmla="*/ 6867509 h 6867509"/>
              <a:gd name="connsiteX13" fmla="*/ 6255 w 9150246"/>
              <a:gd name="connsiteY13" fmla="*/ 142 h 6867509"/>
              <a:gd name="connsiteX0" fmla="*/ 6255 w 9150246"/>
              <a:gd name="connsiteY0" fmla="*/ 142 h 6867509"/>
              <a:gd name="connsiteX1" fmla="*/ 4578245 w 9150246"/>
              <a:gd name="connsiteY1" fmla="*/ 1 h 6867509"/>
              <a:gd name="connsiteX2" fmla="*/ 8981176 w 9150246"/>
              <a:gd name="connsiteY2" fmla="*/ 2383 h 6867509"/>
              <a:gd name="connsiteX3" fmla="*/ 9014514 w 9150246"/>
              <a:gd name="connsiteY3" fmla="*/ 2382 h 6867509"/>
              <a:gd name="connsiteX4" fmla="*/ 9004988 w 9150246"/>
              <a:gd name="connsiteY4" fmla="*/ 83345 h 6867509"/>
              <a:gd name="connsiteX5" fmla="*/ 6949969 w 9150246"/>
              <a:gd name="connsiteY5" fmla="*/ 109538 h 6867509"/>
              <a:gd name="connsiteX6" fmla="*/ 6949969 w 9150246"/>
              <a:gd name="connsiteY6" fmla="*/ 1057276 h 6867509"/>
              <a:gd name="connsiteX7" fmla="*/ 9050233 w 9150246"/>
              <a:gd name="connsiteY7" fmla="*/ 1057276 h 6867509"/>
              <a:gd name="connsiteX8" fmla="*/ 9050233 w 9150246"/>
              <a:gd name="connsiteY8" fmla="*/ 111922 h 6867509"/>
              <a:gd name="connsiteX9" fmla="*/ 9047851 w 9150246"/>
              <a:gd name="connsiteY9" fmla="*/ 0 h 6867509"/>
              <a:gd name="connsiteX10" fmla="*/ 9150235 w 9150246"/>
              <a:gd name="connsiteY10" fmla="*/ 142 h 6867509"/>
              <a:gd name="connsiteX11" fmla="*/ 9150246 w 9150246"/>
              <a:gd name="connsiteY11" fmla="*/ 6862763 h 6867509"/>
              <a:gd name="connsiteX12" fmla="*/ 0 w 9150246"/>
              <a:gd name="connsiteY12" fmla="*/ 6867509 h 6867509"/>
              <a:gd name="connsiteX13" fmla="*/ 6255 w 9150246"/>
              <a:gd name="connsiteY13" fmla="*/ 142 h 6867509"/>
              <a:gd name="connsiteX0" fmla="*/ 6255 w 9150246"/>
              <a:gd name="connsiteY0" fmla="*/ 142 h 6867509"/>
              <a:gd name="connsiteX1" fmla="*/ 4578245 w 9150246"/>
              <a:gd name="connsiteY1" fmla="*/ 1 h 6867509"/>
              <a:gd name="connsiteX2" fmla="*/ 8981176 w 9150246"/>
              <a:gd name="connsiteY2" fmla="*/ 2383 h 6867509"/>
              <a:gd name="connsiteX3" fmla="*/ 9014514 w 9150246"/>
              <a:gd name="connsiteY3" fmla="*/ 2382 h 6867509"/>
              <a:gd name="connsiteX4" fmla="*/ 9004988 w 9150246"/>
              <a:gd name="connsiteY4" fmla="*/ 83345 h 6867509"/>
              <a:gd name="connsiteX5" fmla="*/ 6949969 w 9150246"/>
              <a:gd name="connsiteY5" fmla="*/ 109538 h 6867509"/>
              <a:gd name="connsiteX6" fmla="*/ 6949969 w 9150246"/>
              <a:gd name="connsiteY6" fmla="*/ 1057276 h 6867509"/>
              <a:gd name="connsiteX7" fmla="*/ 9050233 w 9150246"/>
              <a:gd name="connsiteY7" fmla="*/ 1057276 h 6867509"/>
              <a:gd name="connsiteX8" fmla="*/ 9050233 w 9150246"/>
              <a:gd name="connsiteY8" fmla="*/ 111922 h 6867509"/>
              <a:gd name="connsiteX9" fmla="*/ 9047851 w 9150246"/>
              <a:gd name="connsiteY9" fmla="*/ 0 h 6867509"/>
              <a:gd name="connsiteX10" fmla="*/ 9150235 w 9150246"/>
              <a:gd name="connsiteY10" fmla="*/ 142 h 6867509"/>
              <a:gd name="connsiteX11" fmla="*/ 9150246 w 9150246"/>
              <a:gd name="connsiteY11" fmla="*/ 6862763 h 6867509"/>
              <a:gd name="connsiteX12" fmla="*/ 0 w 9150246"/>
              <a:gd name="connsiteY12" fmla="*/ 6867509 h 6867509"/>
              <a:gd name="connsiteX13" fmla="*/ 6255 w 9150246"/>
              <a:gd name="connsiteY13" fmla="*/ 142 h 6867509"/>
              <a:gd name="connsiteX0" fmla="*/ 6255 w 9150246"/>
              <a:gd name="connsiteY0" fmla="*/ 142 h 6867509"/>
              <a:gd name="connsiteX1" fmla="*/ 4578245 w 9150246"/>
              <a:gd name="connsiteY1" fmla="*/ 1 h 6867509"/>
              <a:gd name="connsiteX2" fmla="*/ 9014514 w 9150246"/>
              <a:gd name="connsiteY2" fmla="*/ 2382 h 6867509"/>
              <a:gd name="connsiteX3" fmla="*/ 9004988 w 9150246"/>
              <a:gd name="connsiteY3" fmla="*/ 83345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47851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2 h 6867509"/>
              <a:gd name="connsiteX1" fmla="*/ 4578245 w 9150246"/>
              <a:gd name="connsiteY1" fmla="*/ 1 h 6867509"/>
              <a:gd name="connsiteX2" fmla="*/ 9014514 w 9150246"/>
              <a:gd name="connsiteY2" fmla="*/ 2382 h 6867509"/>
              <a:gd name="connsiteX3" fmla="*/ 9004988 w 9150246"/>
              <a:gd name="connsiteY3" fmla="*/ 83345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47851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2 h 6867509"/>
              <a:gd name="connsiteX1" fmla="*/ 4578245 w 9150246"/>
              <a:gd name="connsiteY1" fmla="*/ 1 h 6867509"/>
              <a:gd name="connsiteX2" fmla="*/ 9014514 w 9150246"/>
              <a:gd name="connsiteY2" fmla="*/ 2382 h 6867509"/>
              <a:gd name="connsiteX3" fmla="*/ 9004988 w 9150246"/>
              <a:gd name="connsiteY3" fmla="*/ 83345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47851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2 h 6867509"/>
              <a:gd name="connsiteX1" fmla="*/ 4578245 w 9150246"/>
              <a:gd name="connsiteY1" fmla="*/ 1 h 6867509"/>
              <a:gd name="connsiteX2" fmla="*/ 9050233 w 9150246"/>
              <a:gd name="connsiteY2" fmla="*/ 2382 h 6867509"/>
              <a:gd name="connsiteX3" fmla="*/ 9004988 w 9150246"/>
              <a:gd name="connsiteY3" fmla="*/ 83345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47851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1 h 6867508"/>
              <a:gd name="connsiteX1" fmla="*/ 4578245 w 9150246"/>
              <a:gd name="connsiteY1" fmla="*/ 0 h 6867508"/>
              <a:gd name="connsiteX2" fmla="*/ 9050233 w 9150246"/>
              <a:gd name="connsiteY2" fmla="*/ 2381 h 6867508"/>
              <a:gd name="connsiteX3" fmla="*/ 9004988 w 9150246"/>
              <a:gd name="connsiteY3" fmla="*/ 83344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107382 w 9150246"/>
              <a:gd name="connsiteY8" fmla="*/ 4762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050233 w 9150246"/>
              <a:gd name="connsiteY2" fmla="*/ 2381 h 6867508"/>
              <a:gd name="connsiteX3" fmla="*/ 9004988 w 9150246"/>
              <a:gd name="connsiteY3" fmla="*/ 83344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107382 w 9150246"/>
              <a:gd name="connsiteY8" fmla="*/ 4762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050233 w 9150246"/>
              <a:gd name="connsiteY2" fmla="*/ 2381 h 6867508"/>
              <a:gd name="connsiteX3" fmla="*/ 9004988 w 9150246"/>
              <a:gd name="connsiteY3" fmla="*/ 83344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047850 w 9150246"/>
              <a:gd name="connsiteY8" fmla="*/ 4762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050233 w 9150246"/>
              <a:gd name="connsiteY2" fmla="*/ 2381 h 6867508"/>
              <a:gd name="connsiteX3" fmla="*/ 9004988 w 9150246"/>
              <a:gd name="connsiteY3" fmla="*/ 83344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047850 w 9150246"/>
              <a:gd name="connsiteY8" fmla="*/ 0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050233 w 9150246"/>
              <a:gd name="connsiteY2" fmla="*/ 2381 h 6867508"/>
              <a:gd name="connsiteX3" fmla="*/ 9052613 w 9150246"/>
              <a:gd name="connsiteY3" fmla="*/ 109538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047850 w 9150246"/>
              <a:gd name="connsiteY8" fmla="*/ 0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050233 w 9150246"/>
              <a:gd name="connsiteY2" fmla="*/ 2381 h 6867508"/>
              <a:gd name="connsiteX3" fmla="*/ 9052613 w 9150246"/>
              <a:gd name="connsiteY3" fmla="*/ 109538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150244 w 9150246"/>
              <a:gd name="connsiteY8" fmla="*/ 2381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147864 w 9150246"/>
              <a:gd name="connsiteY2" fmla="*/ 2381 h 6867508"/>
              <a:gd name="connsiteX3" fmla="*/ 9052613 w 9150246"/>
              <a:gd name="connsiteY3" fmla="*/ 109538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150244 w 9150246"/>
              <a:gd name="connsiteY8" fmla="*/ 2381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147864 w 9150246"/>
              <a:gd name="connsiteY2" fmla="*/ 2381 h 6867508"/>
              <a:gd name="connsiteX3" fmla="*/ 9052613 w 9150246"/>
              <a:gd name="connsiteY3" fmla="*/ 109538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150244 w 9150246"/>
              <a:gd name="connsiteY8" fmla="*/ 2381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147864 w 9150246"/>
              <a:gd name="connsiteY2" fmla="*/ 2381 h 6867508"/>
              <a:gd name="connsiteX3" fmla="*/ 9052613 w 9150246"/>
              <a:gd name="connsiteY3" fmla="*/ 109538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150244 w 9150246"/>
              <a:gd name="connsiteY8" fmla="*/ 2381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71666"/>
              <a:gd name="connsiteY0" fmla="*/ 14288 h 6881655"/>
              <a:gd name="connsiteX1" fmla="*/ 4578245 w 9171666"/>
              <a:gd name="connsiteY1" fmla="*/ 14147 h 6881655"/>
              <a:gd name="connsiteX2" fmla="*/ 9147864 w 9171666"/>
              <a:gd name="connsiteY2" fmla="*/ 16528 h 6881655"/>
              <a:gd name="connsiteX3" fmla="*/ 9052613 w 9171666"/>
              <a:gd name="connsiteY3" fmla="*/ 123685 h 6881655"/>
              <a:gd name="connsiteX4" fmla="*/ 6949969 w 9171666"/>
              <a:gd name="connsiteY4" fmla="*/ 123684 h 6881655"/>
              <a:gd name="connsiteX5" fmla="*/ 6949969 w 9171666"/>
              <a:gd name="connsiteY5" fmla="*/ 1071422 h 6881655"/>
              <a:gd name="connsiteX6" fmla="*/ 9050233 w 9171666"/>
              <a:gd name="connsiteY6" fmla="*/ 1071422 h 6881655"/>
              <a:gd name="connsiteX7" fmla="*/ 9050233 w 9171666"/>
              <a:gd name="connsiteY7" fmla="*/ 126068 h 6881655"/>
              <a:gd name="connsiteX8" fmla="*/ 9150244 w 9171666"/>
              <a:gd name="connsiteY8" fmla="*/ 16528 h 6881655"/>
              <a:gd name="connsiteX9" fmla="*/ 9171666 w 9171666"/>
              <a:gd name="connsiteY9" fmla="*/ 0 h 6881655"/>
              <a:gd name="connsiteX10" fmla="*/ 9150246 w 9171666"/>
              <a:gd name="connsiteY10" fmla="*/ 6876909 h 6881655"/>
              <a:gd name="connsiteX11" fmla="*/ 0 w 9171666"/>
              <a:gd name="connsiteY11" fmla="*/ 6881655 h 6881655"/>
              <a:gd name="connsiteX12" fmla="*/ 6255 w 9171666"/>
              <a:gd name="connsiteY12" fmla="*/ 14288 h 6881655"/>
              <a:gd name="connsiteX0" fmla="*/ 6255 w 9171666"/>
              <a:gd name="connsiteY0" fmla="*/ 14288 h 6881655"/>
              <a:gd name="connsiteX1" fmla="*/ 4578245 w 9171666"/>
              <a:gd name="connsiteY1" fmla="*/ 14147 h 6881655"/>
              <a:gd name="connsiteX2" fmla="*/ 9147864 w 9171666"/>
              <a:gd name="connsiteY2" fmla="*/ 16528 h 6881655"/>
              <a:gd name="connsiteX3" fmla="*/ 9052613 w 9171666"/>
              <a:gd name="connsiteY3" fmla="*/ 123685 h 6881655"/>
              <a:gd name="connsiteX4" fmla="*/ 6949969 w 9171666"/>
              <a:gd name="connsiteY4" fmla="*/ 123684 h 6881655"/>
              <a:gd name="connsiteX5" fmla="*/ 6949969 w 9171666"/>
              <a:gd name="connsiteY5" fmla="*/ 1071422 h 6881655"/>
              <a:gd name="connsiteX6" fmla="*/ 9050233 w 9171666"/>
              <a:gd name="connsiteY6" fmla="*/ 1071422 h 6881655"/>
              <a:gd name="connsiteX7" fmla="*/ 9050233 w 9171666"/>
              <a:gd name="connsiteY7" fmla="*/ 126068 h 6881655"/>
              <a:gd name="connsiteX8" fmla="*/ 9150244 w 9171666"/>
              <a:gd name="connsiteY8" fmla="*/ 16528 h 6881655"/>
              <a:gd name="connsiteX9" fmla="*/ 9171666 w 9171666"/>
              <a:gd name="connsiteY9" fmla="*/ 0 h 6881655"/>
              <a:gd name="connsiteX10" fmla="*/ 9150246 w 9171666"/>
              <a:gd name="connsiteY10" fmla="*/ 6876909 h 6881655"/>
              <a:gd name="connsiteX11" fmla="*/ 0 w 9171666"/>
              <a:gd name="connsiteY11" fmla="*/ 6881655 h 6881655"/>
              <a:gd name="connsiteX12" fmla="*/ 6255 w 9171666"/>
              <a:gd name="connsiteY12" fmla="*/ 14288 h 6881655"/>
              <a:gd name="connsiteX0" fmla="*/ 6255 w 9171666"/>
              <a:gd name="connsiteY0" fmla="*/ 40623 h 6907990"/>
              <a:gd name="connsiteX1" fmla="*/ 4578245 w 9171666"/>
              <a:gd name="connsiteY1" fmla="*/ 40482 h 6907990"/>
              <a:gd name="connsiteX2" fmla="*/ 9147864 w 9171666"/>
              <a:gd name="connsiteY2" fmla="*/ 42863 h 6907990"/>
              <a:gd name="connsiteX3" fmla="*/ 9052613 w 9171666"/>
              <a:gd name="connsiteY3" fmla="*/ 150020 h 6907990"/>
              <a:gd name="connsiteX4" fmla="*/ 6949969 w 9171666"/>
              <a:gd name="connsiteY4" fmla="*/ 150019 h 6907990"/>
              <a:gd name="connsiteX5" fmla="*/ 6949969 w 9171666"/>
              <a:gd name="connsiteY5" fmla="*/ 1097757 h 6907990"/>
              <a:gd name="connsiteX6" fmla="*/ 9050233 w 9171666"/>
              <a:gd name="connsiteY6" fmla="*/ 1097757 h 6907990"/>
              <a:gd name="connsiteX7" fmla="*/ 9050233 w 9171666"/>
              <a:gd name="connsiteY7" fmla="*/ 152403 h 6907990"/>
              <a:gd name="connsiteX8" fmla="*/ 9050232 w 9171666"/>
              <a:gd name="connsiteY8" fmla="*/ 0 h 6907990"/>
              <a:gd name="connsiteX9" fmla="*/ 9171666 w 9171666"/>
              <a:gd name="connsiteY9" fmla="*/ 26335 h 6907990"/>
              <a:gd name="connsiteX10" fmla="*/ 9150246 w 9171666"/>
              <a:gd name="connsiteY10" fmla="*/ 6903244 h 6907990"/>
              <a:gd name="connsiteX11" fmla="*/ 0 w 9171666"/>
              <a:gd name="connsiteY11" fmla="*/ 6907990 h 6907990"/>
              <a:gd name="connsiteX12" fmla="*/ 6255 w 9171666"/>
              <a:gd name="connsiteY12" fmla="*/ 40623 h 6907990"/>
              <a:gd name="connsiteX0" fmla="*/ 6255 w 9171666"/>
              <a:gd name="connsiteY0" fmla="*/ 40623 h 6907990"/>
              <a:gd name="connsiteX1" fmla="*/ 4578245 w 9171666"/>
              <a:gd name="connsiteY1" fmla="*/ 40482 h 6907990"/>
              <a:gd name="connsiteX2" fmla="*/ 9147864 w 9171666"/>
              <a:gd name="connsiteY2" fmla="*/ 42863 h 6907990"/>
              <a:gd name="connsiteX3" fmla="*/ 9052613 w 9171666"/>
              <a:gd name="connsiteY3" fmla="*/ 150020 h 6907990"/>
              <a:gd name="connsiteX4" fmla="*/ 6949969 w 9171666"/>
              <a:gd name="connsiteY4" fmla="*/ 150019 h 6907990"/>
              <a:gd name="connsiteX5" fmla="*/ 6949969 w 9171666"/>
              <a:gd name="connsiteY5" fmla="*/ 1097757 h 6907990"/>
              <a:gd name="connsiteX6" fmla="*/ 9050233 w 9171666"/>
              <a:gd name="connsiteY6" fmla="*/ 1097757 h 6907990"/>
              <a:gd name="connsiteX7" fmla="*/ 9050233 w 9171666"/>
              <a:gd name="connsiteY7" fmla="*/ 152403 h 6907990"/>
              <a:gd name="connsiteX8" fmla="*/ 9050232 w 9171666"/>
              <a:gd name="connsiteY8" fmla="*/ 0 h 6907990"/>
              <a:gd name="connsiteX9" fmla="*/ 9171666 w 9171666"/>
              <a:gd name="connsiteY9" fmla="*/ 26335 h 6907990"/>
              <a:gd name="connsiteX10" fmla="*/ 9150246 w 9171666"/>
              <a:gd name="connsiteY10" fmla="*/ 6903244 h 6907990"/>
              <a:gd name="connsiteX11" fmla="*/ 0 w 9171666"/>
              <a:gd name="connsiteY11" fmla="*/ 6907990 h 6907990"/>
              <a:gd name="connsiteX12" fmla="*/ 6255 w 9171666"/>
              <a:gd name="connsiteY12" fmla="*/ 40623 h 6907990"/>
              <a:gd name="connsiteX0" fmla="*/ 6255 w 9171666"/>
              <a:gd name="connsiteY0" fmla="*/ 40623 h 6907990"/>
              <a:gd name="connsiteX1" fmla="*/ 4578245 w 9171666"/>
              <a:gd name="connsiteY1" fmla="*/ 40482 h 6907990"/>
              <a:gd name="connsiteX2" fmla="*/ 9147864 w 9171666"/>
              <a:gd name="connsiteY2" fmla="*/ 42863 h 6907990"/>
              <a:gd name="connsiteX3" fmla="*/ 9052613 w 9171666"/>
              <a:gd name="connsiteY3" fmla="*/ 150020 h 6907990"/>
              <a:gd name="connsiteX4" fmla="*/ 6949969 w 9171666"/>
              <a:gd name="connsiteY4" fmla="*/ 150019 h 6907990"/>
              <a:gd name="connsiteX5" fmla="*/ 6949969 w 9171666"/>
              <a:gd name="connsiteY5" fmla="*/ 1097757 h 6907990"/>
              <a:gd name="connsiteX6" fmla="*/ 9050233 w 9171666"/>
              <a:gd name="connsiteY6" fmla="*/ 1097757 h 6907990"/>
              <a:gd name="connsiteX7" fmla="*/ 9050233 w 9171666"/>
              <a:gd name="connsiteY7" fmla="*/ 152403 h 6907990"/>
              <a:gd name="connsiteX8" fmla="*/ 9050232 w 9171666"/>
              <a:gd name="connsiteY8" fmla="*/ 0 h 6907990"/>
              <a:gd name="connsiteX9" fmla="*/ 9171666 w 9171666"/>
              <a:gd name="connsiteY9" fmla="*/ 26335 h 6907990"/>
              <a:gd name="connsiteX10" fmla="*/ 9150246 w 9171666"/>
              <a:gd name="connsiteY10" fmla="*/ 6903244 h 6907990"/>
              <a:gd name="connsiteX11" fmla="*/ 0 w 9171666"/>
              <a:gd name="connsiteY11" fmla="*/ 6907990 h 6907990"/>
              <a:gd name="connsiteX12" fmla="*/ 6255 w 9171666"/>
              <a:gd name="connsiteY12" fmla="*/ 40623 h 6907990"/>
              <a:gd name="connsiteX0" fmla="*/ 6255 w 9178809"/>
              <a:gd name="connsiteY0" fmla="*/ 59531 h 6926898"/>
              <a:gd name="connsiteX1" fmla="*/ 4578245 w 9178809"/>
              <a:gd name="connsiteY1" fmla="*/ 59390 h 6926898"/>
              <a:gd name="connsiteX2" fmla="*/ 9147864 w 9178809"/>
              <a:gd name="connsiteY2" fmla="*/ 61771 h 6926898"/>
              <a:gd name="connsiteX3" fmla="*/ 9052613 w 9178809"/>
              <a:gd name="connsiteY3" fmla="*/ 168928 h 6926898"/>
              <a:gd name="connsiteX4" fmla="*/ 6949969 w 9178809"/>
              <a:gd name="connsiteY4" fmla="*/ 168927 h 6926898"/>
              <a:gd name="connsiteX5" fmla="*/ 6949969 w 9178809"/>
              <a:gd name="connsiteY5" fmla="*/ 1116665 h 6926898"/>
              <a:gd name="connsiteX6" fmla="*/ 9050233 w 9178809"/>
              <a:gd name="connsiteY6" fmla="*/ 1116665 h 6926898"/>
              <a:gd name="connsiteX7" fmla="*/ 9050233 w 9178809"/>
              <a:gd name="connsiteY7" fmla="*/ 171311 h 6926898"/>
              <a:gd name="connsiteX8" fmla="*/ 9050232 w 9178809"/>
              <a:gd name="connsiteY8" fmla="*/ 18908 h 6926898"/>
              <a:gd name="connsiteX9" fmla="*/ 9178809 w 9178809"/>
              <a:gd name="connsiteY9" fmla="*/ 0 h 6926898"/>
              <a:gd name="connsiteX10" fmla="*/ 9150246 w 9178809"/>
              <a:gd name="connsiteY10" fmla="*/ 6922152 h 6926898"/>
              <a:gd name="connsiteX11" fmla="*/ 0 w 9178809"/>
              <a:gd name="connsiteY11" fmla="*/ 6926898 h 6926898"/>
              <a:gd name="connsiteX12" fmla="*/ 6255 w 9178809"/>
              <a:gd name="connsiteY12" fmla="*/ 59531 h 6926898"/>
              <a:gd name="connsiteX0" fmla="*/ 6255 w 9152615"/>
              <a:gd name="connsiteY0" fmla="*/ 40623 h 6907990"/>
              <a:gd name="connsiteX1" fmla="*/ 4578245 w 9152615"/>
              <a:gd name="connsiteY1" fmla="*/ 40482 h 6907990"/>
              <a:gd name="connsiteX2" fmla="*/ 9147864 w 9152615"/>
              <a:gd name="connsiteY2" fmla="*/ 42863 h 6907990"/>
              <a:gd name="connsiteX3" fmla="*/ 9052613 w 9152615"/>
              <a:gd name="connsiteY3" fmla="*/ 150020 h 6907990"/>
              <a:gd name="connsiteX4" fmla="*/ 6949969 w 9152615"/>
              <a:gd name="connsiteY4" fmla="*/ 150019 h 6907990"/>
              <a:gd name="connsiteX5" fmla="*/ 6949969 w 9152615"/>
              <a:gd name="connsiteY5" fmla="*/ 1097757 h 6907990"/>
              <a:gd name="connsiteX6" fmla="*/ 9050233 w 9152615"/>
              <a:gd name="connsiteY6" fmla="*/ 1097757 h 6907990"/>
              <a:gd name="connsiteX7" fmla="*/ 9050233 w 9152615"/>
              <a:gd name="connsiteY7" fmla="*/ 152403 h 6907990"/>
              <a:gd name="connsiteX8" fmla="*/ 9050232 w 9152615"/>
              <a:gd name="connsiteY8" fmla="*/ 0 h 6907990"/>
              <a:gd name="connsiteX9" fmla="*/ 9152615 w 9152615"/>
              <a:gd name="connsiteY9" fmla="*/ 40623 h 6907990"/>
              <a:gd name="connsiteX10" fmla="*/ 9150246 w 9152615"/>
              <a:gd name="connsiteY10" fmla="*/ 6903244 h 6907990"/>
              <a:gd name="connsiteX11" fmla="*/ 0 w 9152615"/>
              <a:gd name="connsiteY11" fmla="*/ 6907990 h 6907990"/>
              <a:gd name="connsiteX12" fmla="*/ 6255 w 9152615"/>
              <a:gd name="connsiteY12" fmla="*/ 40623 h 6907990"/>
              <a:gd name="connsiteX0" fmla="*/ 6255 w 9174046"/>
              <a:gd name="connsiteY0" fmla="*/ 40623 h 6907990"/>
              <a:gd name="connsiteX1" fmla="*/ 4578245 w 9174046"/>
              <a:gd name="connsiteY1" fmla="*/ 40482 h 6907990"/>
              <a:gd name="connsiteX2" fmla="*/ 9147864 w 9174046"/>
              <a:gd name="connsiteY2" fmla="*/ 42863 h 6907990"/>
              <a:gd name="connsiteX3" fmla="*/ 9052613 w 9174046"/>
              <a:gd name="connsiteY3" fmla="*/ 150020 h 6907990"/>
              <a:gd name="connsiteX4" fmla="*/ 6949969 w 9174046"/>
              <a:gd name="connsiteY4" fmla="*/ 150019 h 6907990"/>
              <a:gd name="connsiteX5" fmla="*/ 6949969 w 9174046"/>
              <a:gd name="connsiteY5" fmla="*/ 1097757 h 6907990"/>
              <a:gd name="connsiteX6" fmla="*/ 9050233 w 9174046"/>
              <a:gd name="connsiteY6" fmla="*/ 1097757 h 6907990"/>
              <a:gd name="connsiteX7" fmla="*/ 9050233 w 9174046"/>
              <a:gd name="connsiteY7" fmla="*/ 152403 h 6907990"/>
              <a:gd name="connsiteX8" fmla="*/ 9050232 w 9174046"/>
              <a:gd name="connsiteY8" fmla="*/ 0 h 6907990"/>
              <a:gd name="connsiteX9" fmla="*/ 9174046 w 9174046"/>
              <a:gd name="connsiteY9" fmla="*/ 4904 h 6907990"/>
              <a:gd name="connsiteX10" fmla="*/ 9150246 w 9174046"/>
              <a:gd name="connsiteY10" fmla="*/ 6903244 h 6907990"/>
              <a:gd name="connsiteX11" fmla="*/ 0 w 9174046"/>
              <a:gd name="connsiteY11" fmla="*/ 6907990 h 6907990"/>
              <a:gd name="connsiteX12" fmla="*/ 6255 w 9174046"/>
              <a:gd name="connsiteY12" fmla="*/ 40623 h 6907990"/>
              <a:gd name="connsiteX0" fmla="*/ 6255 w 9152614"/>
              <a:gd name="connsiteY0" fmla="*/ 40623 h 6907990"/>
              <a:gd name="connsiteX1" fmla="*/ 4578245 w 9152614"/>
              <a:gd name="connsiteY1" fmla="*/ 40482 h 6907990"/>
              <a:gd name="connsiteX2" fmla="*/ 9147864 w 9152614"/>
              <a:gd name="connsiteY2" fmla="*/ 42863 h 6907990"/>
              <a:gd name="connsiteX3" fmla="*/ 9052613 w 9152614"/>
              <a:gd name="connsiteY3" fmla="*/ 150020 h 6907990"/>
              <a:gd name="connsiteX4" fmla="*/ 6949969 w 9152614"/>
              <a:gd name="connsiteY4" fmla="*/ 150019 h 6907990"/>
              <a:gd name="connsiteX5" fmla="*/ 6949969 w 9152614"/>
              <a:gd name="connsiteY5" fmla="*/ 1097757 h 6907990"/>
              <a:gd name="connsiteX6" fmla="*/ 9050233 w 9152614"/>
              <a:gd name="connsiteY6" fmla="*/ 1097757 h 6907990"/>
              <a:gd name="connsiteX7" fmla="*/ 9050233 w 9152614"/>
              <a:gd name="connsiteY7" fmla="*/ 152403 h 6907990"/>
              <a:gd name="connsiteX8" fmla="*/ 9050232 w 9152614"/>
              <a:gd name="connsiteY8" fmla="*/ 0 h 6907990"/>
              <a:gd name="connsiteX9" fmla="*/ 9152614 w 9152614"/>
              <a:gd name="connsiteY9" fmla="*/ 35860 h 6907990"/>
              <a:gd name="connsiteX10" fmla="*/ 9150246 w 9152614"/>
              <a:gd name="connsiteY10" fmla="*/ 6903244 h 6907990"/>
              <a:gd name="connsiteX11" fmla="*/ 0 w 9152614"/>
              <a:gd name="connsiteY11" fmla="*/ 6907990 h 6907990"/>
              <a:gd name="connsiteX12" fmla="*/ 6255 w 9152614"/>
              <a:gd name="connsiteY12" fmla="*/ 40623 h 6907990"/>
              <a:gd name="connsiteX0" fmla="*/ 6255 w 9152614"/>
              <a:gd name="connsiteY0" fmla="*/ 4763 h 6872130"/>
              <a:gd name="connsiteX1" fmla="*/ 4578245 w 9152614"/>
              <a:gd name="connsiteY1" fmla="*/ 4622 h 6872130"/>
              <a:gd name="connsiteX2" fmla="*/ 9147864 w 9152614"/>
              <a:gd name="connsiteY2" fmla="*/ 7003 h 6872130"/>
              <a:gd name="connsiteX3" fmla="*/ 9052613 w 9152614"/>
              <a:gd name="connsiteY3" fmla="*/ 114160 h 6872130"/>
              <a:gd name="connsiteX4" fmla="*/ 6949969 w 9152614"/>
              <a:gd name="connsiteY4" fmla="*/ 114159 h 6872130"/>
              <a:gd name="connsiteX5" fmla="*/ 6949969 w 9152614"/>
              <a:gd name="connsiteY5" fmla="*/ 1061897 h 6872130"/>
              <a:gd name="connsiteX6" fmla="*/ 9050233 w 9152614"/>
              <a:gd name="connsiteY6" fmla="*/ 1061897 h 6872130"/>
              <a:gd name="connsiteX7" fmla="*/ 9050233 w 9152614"/>
              <a:gd name="connsiteY7" fmla="*/ 116543 h 6872130"/>
              <a:gd name="connsiteX8" fmla="*/ 8900214 w 9152614"/>
              <a:gd name="connsiteY8" fmla="*/ 57009 h 6872130"/>
              <a:gd name="connsiteX9" fmla="*/ 9152614 w 9152614"/>
              <a:gd name="connsiteY9" fmla="*/ 0 h 6872130"/>
              <a:gd name="connsiteX10" fmla="*/ 9150246 w 9152614"/>
              <a:gd name="connsiteY10" fmla="*/ 6867384 h 6872130"/>
              <a:gd name="connsiteX11" fmla="*/ 0 w 9152614"/>
              <a:gd name="connsiteY11" fmla="*/ 6872130 h 6872130"/>
              <a:gd name="connsiteX12" fmla="*/ 6255 w 9152614"/>
              <a:gd name="connsiteY12" fmla="*/ 4763 h 6872130"/>
              <a:gd name="connsiteX0" fmla="*/ 6255 w 9152614"/>
              <a:gd name="connsiteY0" fmla="*/ 4763 h 6872130"/>
              <a:gd name="connsiteX1" fmla="*/ 4578245 w 9152614"/>
              <a:gd name="connsiteY1" fmla="*/ 4622 h 6872130"/>
              <a:gd name="connsiteX2" fmla="*/ 9147864 w 9152614"/>
              <a:gd name="connsiteY2" fmla="*/ 7003 h 6872130"/>
              <a:gd name="connsiteX3" fmla="*/ 9052613 w 9152614"/>
              <a:gd name="connsiteY3" fmla="*/ 114160 h 6872130"/>
              <a:gd name="connsiteX4" fmla="*/ 6949969 w 9152614"/>
              <a:gd name="connsiteY4" fmla="*/ 114159 h 6872130"/>
              <a:gd name="connsiteX5" fmla="*/ 6949969 w 9152614"/>
              <a:gd name="connsiteY5" fmla="*/ 1061897 h 6872130"/>
              <a:gd name="connsiteX6" fmla="*/ 9050233 w 9152614"/>
              <a:gd name="connsiteY6" fmla="*/ 1061897 h 6872130"/>
              <a:gd name="connsiteX7" fmla="*/ 9050233 w 9152614"/>
              <a:gd name="connsiteY7" fmla="*/ 116543 h 6872130"/>
              <a:gd name="connsiteX8" fmla="*/ 8900214 w 9152614"/>
              <a:gd name="connsiteY8" fmla="*/ 57009 h 6872130"/>
              <a:gd name="connsiteX9" fmla="*/ 9152614 w 9152614"/>
              <a:gd name="connsiteY9" fmla="*/ 0 h 6872130"/>
              <a:gd name="connsiteX10" fmla="*/ 9150246 w 9152614"/>
              <a:gd name="connsiteY10" fmla="*/ 6867384 h 6872130"/>
              <a:gd name="connsiteX11" fmla="*/ 0 w 9152614"/>
              <a:gd name="connsiteY11" fmla="*/ 6872130 h 6872130"/>
              <a:gd name="connsiteX12" fmla="*/ 6255 w 9152614"/>
              <a:gd name="connsiteY12" fmla="*/ 4763 h 6872130"/>
              <a:gd name="connsiteX0" fmla="*/ 6255 w 9152614"/>
              <a:gd name="connsiteY0" fmla="*/ 4763 h 6872130"/>
              <a:gd name="connsiteX1" fmla="*/ 4578245 w 9152614"/>
              <a:gd name="connsiteY1" fmla="*/ 4622 h 6872130"/>
              <a:gd name="connsiteX2" fmla="*/ 9147864 w 9152614"/>
              <a:gd name="connsiteY2" fmla="*/ 7003 h 6872130"/>
              <a:gd name="connsiteX3" fmla="*/ 9052613 w 9152614"/>
              <a:gd name="connsiteY3" fmla="*/ 114160 h 6872130"/>
              <a:gd name="connsiteX4" fmla="*/ 6949969 w 9152614"/>
              <a:gd name="connsiteY4" fmla="*/ 114159 h 6872130"/>
              <a:gd name="connsiteX5" fmla="*/ 6949969 w 9152614"/>
              <a:gd name="connsiteY5" fmla="*/ 1061897 h 6872130"/>
              <a:gd name="connsiteX6" fmla="*/ 9050233 w 9152614"/>
              <a:gd name="connsiteY6" fmla="*/ 1061897 h 6872130"/>
              <a:gd name="connsiteX7" fmla="*/ 9050233 w 9152614"/>
              <a:gd name="connsiteY7" fmla="*/ 116543 h 6872130"/>
              <a:gd name="connsiteX8" fmla="*/ 9152614 w 9152614"/>
              <a:gd name="connsiteY8" fmla="*/ 0 h 6872130"/>
              <a:gd name="connsiteX9" fmla="*/ 9150246 w 9152614"/>
              <a:gd name="connsiteY9" fmla="*/ 6867384 h 6872130"/>
              <a:gd name="connsiteX10" fmla="*/ 0 w 9152614"/>
              <a:gd name="connsiteY10" fmla="*/ 6872130 h 6872130"/>
              <a:gd name="connsiteX11" fmla="*/ 6255 w 9152614"/>
              <a:gd name="connsiteY11" fmla="*/ 4763 h 6872130"/>
              <a:gd name="connsiteX0" fmla="*/ 6255 w 9152614"/>
              <a:gd name="connsiteY0" fmla="*/ 141 h 6867508"/>
              <a:gd name="connsiteX1" fmla="*/ 4578245 w 9152614"/>
              <a:gd name="connsiteY1" fmla="*/ 0 h 6867508"/>
              <a:gd name="connsiteX2" fmla="*/ 9147864 w 9152614"/>
              <a:gd name="connsiteY2" fmla="*/ 2381 h 6867508"/>
              <a:gd name="connsiteX3" fmla="*/ 9052613 w 9152614"/>
              <a:gd name="connsiteY3" fmla="*/ 109538 h 6867508"/>
              <a:gd name="connsiteX4" fmla="*/ 6949969 w 9152614"/>
              <a:gd name="connsiteY4" fmla="*/ 109537 h 6867508"/>
              <a:gd name="connsiteX5" fmla="*/ 6949969 w 9152614"/>
              <a:gd name="connsiteY5" fmla="*/ 1057275 h 6867508"/>
              <a:gd name="connsiteX6" fmla="*/ 9050233 w 9152614"/>
              <a:gd name="connsiteY6" fmla="*/ 1057275 h 6867508"/>
              <a:gd name="connsiteX7" fmla="*/ 9050233 w 9152614"/>
              <a:gd name="connsiteY7" fmla="*/ 111921 h 6867508"/>
              <a:gd name="connsiteX8" fmla="*/ 9152614 w 9152614"/>
              <a:gd name="connsiteY8" fmla="*/ 382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52613 w 9152614"/>
              <a:gd name="connsiteY3" fmla="*/ 109538 h 6867508"/>
              <a:gd name="connsiteX4" fmla="*/ 6949969 w 9152614"/>
              <a:gd name="connsiteY4" fmla="*/ 109537 h 6867508"/>
              <a:gd name="connsiteX5" fmla="*/ 6949969 w 9152614"/>
              <a:gd name="connsiteY5" fmla="*/ 1057275 h 6867508"/>
              <a:gd name="connsiteX6" fmla="*/ 9050233 w 9152614"/>
              <a:gd name="connsiteY6" fmla="*/ 1057275 h 6867508"/>
              <a:gd name="connsiteX7" fmla="*/ 9050233 w 9152614"/>
              <a:gd name="connsiteY7" fmla="*/ 111921 h 6867508"/>
              <a:gd name="connsiteX8" fmla="*/ 9152614 w 9152614"/>
              <a:gd name="connsiteY8" fmla="*/ 382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52613 w 9152614"/>
              <a:gd name="connsiteY3" fmla="*/ 109538 h 6867508"/>
              <a:gd name="connsiteX4" fmla="*/ 6949969 w 9152614"/>
              <a:gd name="connsiteY4" fmla="*/ 109537 h 6867508"/>
              <a:gd name="connsiteX5" fmla="*/ 6949969 w 9152614"/>
              <a:gd name="connsiteY5" fmla="*/ 1057275 h 6867508"/>
              <a:gd name="connsiteX6" fmla="*/ 9050233 w 9152614"/>
              <a:gd name="connsiteY6" fmla="*/ 1057275 h 6867508"/>
              <a:gd name="connsiteX7" fmla="*/ 9050233 w 9152614"/>
              <a:gd name="connsiteY7" fmla="*/ 111921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52613 w 9152614"/>
              <a:gd name="connsiteY3" fmla="*/ 109538 h 6867508"/>
              <a:gd name="connsiteX4" fmla="*/ 6949969 w 9152614"/>
              <a:gd name="connsiteY4" fmla="*/ 109537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52613 w 9152614"/>
              <a:gd name="connsiteY3" fmla="*/ 109538 h 6867508"/>
              <a:gd name="connsiteX4" fmla="*/ 6949969 w 9152614"/>
              <a:gd name="connsiteY4" fmla="*/ 109537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8997844 w 9152614"/>
              <a:gd name="connsiteY3" fmla="*/ 59532 h 6867508"/>
              <a:gd name="connsiteX4" fmla="*/ 6949969 w 9152614"/>
              <a:gd name="connsiteY4" fmla="*/ 109537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8997844 w 9152614"/>
              <a:gd name="connsiteY3" fmla="*/ 59532 h 6867508"/>
              <a:gd name="connsiteX4" fmla="*/ 6949969 w 9152614"/>
              <a:gd name="connsiteY4" fmla="*/ 83344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8997844 w 9152614"/>
              <a:gd name="connsiteY3" fmla="*/ 59532 h 6867508"/>
              <a:gd name="connsiteX4" fmla="*/ 6949969 w 9152614"/>
              <a:gd name="connsiteY4" fmla="*/ 83344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8997844 w 9152614"/>
              <a:gd name="connsiteY3" fmla="*/ 59532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131195 w 9152614"/>
              <a:gd name="connsiteY7" fmla="*/ 204789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119289 w 9152614"/>
              <a:gd name="connsiteY7" fmla="*/ 185739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114527 w 9152614"/>
              <a:gd name="connsiteY6" fmla="*/ 1054894 h 6867508"/>
              <a:gd name="connsiteX7" fmla="*/ 9119289 w 9152614"/>
              <a:gd name="connsiteY7" fmla="*/ 185739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119289 w 9152614"/>
              <a:gd name="connsiteY7" fmla="*/ 185739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119289 w 9152614"/>
              <a:gd name="connsiteY7" fmla="*/ 185739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050233 w 9152614"/>
              <a:gd name="connsiteY7" fmla="*/ 107158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2382 h 6869749"/>
              <a:gd name="connsiteX1" fmla="*/ 4578245 w 9152614"/>
              <a:gd name="connsiteY1" fmla="*/ 2241 h 6869749"/>
              <a:gd name="connsiteX2" fmla="*/ 9150245 w 9152614"/>
              <a:gd name="connsiteY2" fmla="*/ 2241 h 6869749"/>
              <a:gd name="connsiteX3" fmla="*/ 9047851 w 9152614"/>
              <a:gd name="connsiteY3" fmla="*/ 111779 h 6869749"/>
              <a:gd name="connsiteX4" fmla="*/ 6949969 w 9152614"/>
              <a:gd name="connsiteY4" fmla="*/ 111779 h 6869749"/>
              <a:gd name="connsiteX5" fmla="*/ 6949969 w 9152614"/>
              <a:gd name="connsiteY5" fmla="*/ 1059516 h 6869749"/>
              <a:gd name="connsiteX6" fmla="*/ 9050233 w 9152614"/>
              <a:gd name="connsiteY6" fmla="*/ 1059516 h 6869749"/>
              <a:gd name="connsiteX7" fmla="*/ 9050233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47851 w 9152614"/>
              <a:gd name="connsiteY3" fmla="*/ 111779 h 6869749"/>
              <a:gd name="connsiteX4" fmla="*/ 6949969 w 9152614"/>
              <a:gd name="connsiteY4" fmla="*/ 111779 h 6869749"/>
              <a:gd name="connsiteX5" fmla="*/ 6949969 w 9152614"/>
              <a:gd name="connsiteY5" fmla="*/ 1059516 h 6869749"/>
              <a:gd name="connsiteX6" fmla="*/ 9050233 w 9152614"/>
              <a:gd name="connsiteY6" fmla="*/ 1059516 h 6869749"/>
              <a:gd name="connsiteX7" fmla="*/ 9083570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69282 w 9152614"/>
              <a:gd name="connsiteY3" fmla="*/ 114161 h 6869749"/>
              <a:gd name="connsiteX4" fmla="*/ 6949969 w 9152614"/>
              <a:gd name="connsiteY4" fmla="*/ 111779 h 6869749"/>
              <a:gd name="connsiteX5" fmla="*/ 6949969 w 9152614"/>
              <a:gd name="connsiteY5" fmla="*/ 1059516 h 6869749"/>
              <a:gd name="connsiteX6" fmla="*/ 9050233 w 9152614"/>
              <a:gd name="connsiteY6" fmla="*/ 1059516 h 6869749"/>
              <a:gd name="connsiteX7" fmla="*/ 9083570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69282 w 9152614"/>
              <a:gd name="connsiteY3" fmla="*/ 114161 h 6869749"/>
              <a:gd name="connsiteX4" fmla="*/ 6949969 w 9152614"/>
              <a:gd name="connsiteY4" fmla="*/ 111779 h 6869749"/>
              <a:gd name="connsiteX5" fmla="*/ 6949969 w 9152614"/>
              <a:gd name="connsiteY5" fmla="*/ 1059516 h 6869749"/>
              <a:gd name="connsiteX6" fmla="*/ 9050233 w 9152614"/>
              <a:gd name="connsiteY6" fmla="*/ 1059516 h 6869749"/>
              <a:gd name="connsiteX7" fmla="*/ 9050233 w 9152614"/>
              <a:gd name="connsiteY7" fmla="*/ 111780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50233 w 9152614"/>
              <a:gd name="connsiteY5" fmla="*/ 1059516 h 6869749"/>
              <a:gd name="connsiteX6" fmla="*/ 9050233 w 9152614"/>
              <a:gd name="connsiteY6" fmla="*/ 111780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50233 w 9152614"/>
              <a:gd name="connsiteY5" fmla="*/ 1059516 h 6869749"/>
              <a:gd name="connsiteX6" fmla="*/ 9076427 w 9152614"/>
              <a:gd name="connsiteY6" fmla="*/ 126067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50233 w 9152614"/>
              <a:gd name="connsiteY5" fmla="*/ 1059516 h 6869749"/>
              <a:gd name="connsiteX6" fmla="*/ 9052615 w 9152614"/>
              <a:gd name="connsiteY6" fmla="*/ 114161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50233 w 9152614"/>
              <a:gd name="connsiteY5" fmla="*/ 1059516 h 6869749"/>
              <a:gd name="connsiteX6" fmla="*/ 9093096 w 9152614"/>
              <a:gd name="connsiteY6" fmla="*/ 118924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50233 w 9152614"/>
              <a:gd name="connsiteY5" fmla="*/ 1059516 h 6869749"/>
              <a:gd name="connsiteX6" fmla="*/ 9047853 w 9152614"/>
              <a:gd name="connsiteY6" fmla="*/ 116543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47852 w 9152614"/>
              <a:gd name="connsiteY5" fmla="*/ 1095235 h 6869749"/>
              <a:gd name="connsiteX6" fmla="*/ 9047853 w 9152614"/>
              <a:gd name="connsiteY6" fmla="*/ 116543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78809 w 9152614"/>
              <a:gd name="connsiteY5" fmla="*/ 1095235 h 6869749"/>
              <a:gd name="connsiteX6" fmla="*/ 9047853 w 9152614"/>
              <a:gd name="connsiteY6" fmla="*/ 116543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50234 w 9152614"/>
              <a:gd name="connsiteY5" fmla="*/ 1061898 h 6869749"/>
              <a:gd name="connsiteX6" fmla="*/ 9047853 w 9152614"/>
              <a:gd name="connsiteY6" fmla="*/ 116543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07106 w 9152614"/>
              <a:gd name="connsiteY3" fmla="*/ 57010 h 6869749"/>
              <a:gd name="connsiteX4" fmla="*/ 6949969 w 9152614"/>
              <a:gd name="connsiteY4" fmla="*/ 1059516 h 6869749"/>
              <a:gd name="connsiteX5" fmla="*/ 9050234 w 9152614"/>
              <a:gd name="connsiteY5" fmla="*/ 1061898 h 6869749"/>
              <a:gd name="connsiteX6" fmla="*/ 9047853 w 9152614"/>
              <a:gd name="connsiteY6" fmla="*/ 116543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7588 w 9152614"/>
              <a:gd name="connsiteY3" fmla="*/ 111778 h 6869749"/>
              <a:gd name="connsiteX4" fmla="*/ 6949969 w 9152614"/>
              <a:gd name="connsiteY4" fmla="*/ 1059516 h 6869749"/>
              <a:gd name="connsiteX5" fmla="*/ 9050234 w 9152614"/>
              <a:gd name="connsiteY5" fmla="*/ 1061898 h 6869749"/>
              <a:gd name="connsiteX6" fmla="*/ 9047853 w 9152614"/>
              <a:gd name="connsiteY6" fmla="*/ 116543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8083444 w 9152614"/>
              <a:gd name="connsiteY3" fmla="*/ 57012 h 6869749"/>
              <a:gd name="connsiteX4" fmla="*/ 6947588 w 9152614"/>
              <a:gd name="connsiteY4" fmla="*/ 111778 h 6869749"/>
              <a:gd name="connsiteX5" fmla="*/ 6949969 w 9152614"/>
              <a:gd name="connsiteY5" fmla="*/ 1059516 h 6869749"/>
              <a:gd name="connsiteX6" fmla="*/ 9050234 w 9152614"/>
              <a:gd name="connsiteY6" fmla="*/ 1061898 h 6869749"/>
              <a:gd name="connsiteX7" fmla="*/ 9047853 w 9152614"/>
              <a:gd name="connsiteY7" fmla="*/ 116543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4 w 9152614"/>
              <a:gd name="connsiteY6" fmla="*/ 1061898 h 6869749"/>
              <a:gd name="connsiteX7" fmla="*/ 9047853 w 9152614"/>
              <a:gd name="connsiteY7" fmla="*/ 116543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4 w 9152614"/>
              <a:gd name="connsiteY6" fmla="*/ 1061898 h 6869749"/>
              <a:gd name="connsiteX7" fmla="*/ 9119291 w 9152614"/>
              <a:gd name="connsiteY7" fmla="*/ 159406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4 w 9152614"/>
              <a:gd name="connsiteY6" fmla="*/ 1061898 h 6869749"/>
              <a:gd name="connsiteX7" fmla="*/ 9119291 w 9152614"/>
              <a:gd name="connsiteY7" fmla="*/ 159406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4 w 9152614"/>
              <a:gd name="connsiteY6" fmla="*/ 1061898 h 6869749"/>
              <a:gd name="connsiteX7" fmla="*/ 9050235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93097 w 9152614"/>
              <a:gd name="connsiteY6" fmla="*/ 1107142 h 6869749"/>
              <a:gd name="connsiteX7" fmla="*/ 9050235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93097 w 9152614"/>
              <a:gd name="connsiteY6" fmla="*/ 1107142 h 6869749"/>
              <a:gd name="connsiteX7" fmla="*/ 9050235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5 w 9152614"/>
              <a:gd name="connsiteY6" fmla="*/ 1061898 h 6869749"/>
              <a:gd name="connsiteX7" fmla="*/ 9050235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5 w 9152614"/>
              <a:gd name="connsiteY6" fmla="*/ 1061898 h 6869749"/>
              <a:gd name="connsiteX7" fmla="*/ 9033567 w 9152614"/>
              <a:gd name="connsiteY7" fmla="*/ 83205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5 w 9152614"/>
              <a:gd name="connsiteY6" fmla="*/ 1061898 h 6869749"/>
              <a:gd name="connsiteX7" fmla="*/ 9033567 w 9152614"/>
              <a:gd name="connsiteY7" fmla="*/ 83205 h 6869749"/>
              <a:gd name="connsiteX8" fmla="*/ 9095475 w 9152614"/>
              <a:gd name="connsiteY8" fmla="*/ 35581 h 6869749"/>
              <a:gd name="connsiteX9" fmla="*/ 9152614 w 9152614"/>
              <a:gd name="connsiteY9" fmla="*/ 0 h 6869749"/>
              <a:gd name="connsiteX10" fmla="*/ 9150246 w 9152614"/>
              <a:gd name="connsiteY10" fmla="*/ 6865003 h 6869749"/>
              <a:gd name="connsiteX11" fmla="*/ 0 w 9152614"/>
              <a:gd name="connsiteY11" fmla="*/ 6869749 h 6869749"/>
              <a:gd name="connsiteX12" fmla="*/ 6255 w 9152614"/>
              <a:gd name="connsiteY12"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85950 w 9152614"/>
              <a:gd name="connsiteY3" fmla="*/ 73681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33567 w 9152614"/>
              <a:gd name="connsiteY8" fmla="*/ 83205 h 6869749"/>
              <a:gd name="connsiteX9" fmla="*/ 9095475 w 9152614"/>
              <a:gd name="connsiteY9" fmla="*/ 35581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28812 w 9152614"/>
              <a:gd name="connsiteY3" fmla="*/ 78443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33567 w 9152614"/>
              <a:gd name="connsiteY8" fmla="*/ 83205 h 6869749"/>
              <a:gd name="connsiteX9" fmla="*/ 9095475 w 9152614"/>
              <a:gd name="connsiteY9" fmla="*/ 35581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28812 w 9152614"/>
              <a:gd name="connsiteY3" fmla="*/ 78443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107386 w 9152614"/>
              <a:gd name="connsiteY8" fmla="*/ 180837 h 6869749"/>
              <a:gd name="connsiteX9" fmla="*/ 9095475 w 9152614"/>
              <a:gd name="connsiteY9" fmla="*/ 35581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28812 w 9152614"/>
              <a:gd name="connsiteY3" fmla="*/ 78443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50236 w 9152614"/>
              <a:gd name="connsiteY8" fmla="*/ 104637 h 6869749"/>
              <a:gd name="connsiteX9" fmla="*/ 9095475 w 9152614"/>
              <a:gd name="connsiteY9" fmla="*/ 35581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28812 w 9152614"/>
              <a:gd name="connsiteY3" fmla="*/ 78443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50236 w 9152614"/>
              <a:gd name="connsiteY8" fmla="*/ 109399 h 6869749"/>
              <a:gd name="connsiteX9" fmla="*/ 9095475 w 9152614"/>
              <a:gd name="connsiteY9" fmla="*/ 35581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07381 w 9152614"/>
              <a:gd name="connsiteY3" fmla="*/ 57012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50236 w 9152614"/>
              <a:gd name="connsiteY8" fmla="*/ 109399 h 6869749"/>
              <a:gd name="connsiteX9" fmla="*/ 9095475 w 9152614"/>
              <a:gd name="connsiteY9" fmla="*/ 35581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07381 w 9152614"/>
              <a:gd name="connsiteY3" fmla="*/ 57012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50236 w 9152614"/>
              <a:gd name="connsiteY8" fmla="*/ 109399 h 6869749"/>
              <a:gd name="connsiteX9" fmla="*/ 9109763 w 9152614"/>
              <a:gd name="connsiteY9" fmla="*/ 59393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07381 w 9152614"/>
              <a:gd name="connsiteY3" fmla="*/ 57012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50236 w 9152614"/>
              <a:gd name="connsiteY8" fmla="*/ 109399 h 6869749"/>
              <a:gd name="connsiteX9" fmla="*/ 9114525 w 9152614"/>
              <a:gd name="connsiteY9" fmla="*/ 107018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07381 w 9152614"/>
              <a:gd name="connsiteY3" fmla="*/ 57012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50236 w 9152614"/>
              <a:gd name="connsiteY8" fmla="*/ 109399 h 6869749"/>
              <a:gd name="connsiteX9" fmla="*/ 9152614 w 9152614"/>
              <a:gd name="connsiteY9" fmla="*/ 0 h 6869749"/>
              <a:gd name="connsiteX10" fmla="*/ 9150246 w 9152614"/>
              <a:gd name="connsiteY10" fmla="*/ 6865003 h 6869749"/>
              <a:gd name="connsiteX11" fmla="*/ 0 w 9152614"/>
              <a:gd name="connsiteY11" fmla="*/ 6869749 h 6869749"/>
              <a:gd name="connsiteX12" fmla="*/ 6255 w 9152614"/>
              <a:gd name="connsiteY12"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5 w 9152614"/>
              <a:gd name="connsiteY6" fmla="*/ 1061898 h 6869749"/>
              <a:gd name="connsiteX7" fmla="*/ 9050236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5 w 9152614"/>
              <a:gd name="connsiteY6" fmla="*/ 1061898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76428 w 9152614"/>
              <a:gd name="connsiteY6" fmla="*/ 1090473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76428 w 9152614"/>
              <a:gd name="connsiteY6" fmla="*/ 1090473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28537 w 9152614"/>
              <a:gd name="connsiteY5" fmla="*/ 1090472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28537 w 9152614"/>
              <a:gd name="connsiteY5" fmla="*/ 1090472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7587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09487 w 9152614"/>
              <a:gd name="connsiteY5" fmla="*/ 1099997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09487 w 9152614"/>
              <a:gd name="connsiteY5" fmla="*/ 1099997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14250 w 9152614"/>
              <a:gd name="connsiteY4" fmla="*/ 68916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14250 w 9152614"/>
              <a:gd name="connsiteY4" fmla="*/ 68916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11869 w 9152614"/>
              <a:gd name="connsiteY4" fmla="*/ 95109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11869 w 9152614"/>
              <a:gd name="connsiteY4" fmla="*/ 95109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823761 w 9152614"/>
              <a:gd name="connsiteY5" fmla="*/ 1073804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823761 w 9152614"/>
              <a:gd name="connsiteY5" fmla="*/ 1073804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854719 w 9152614"/>
              <a:gd name="connsiteY4" fmla="*/ 59390 h 6869749"/>
              <a:gd name="connsiteX5" fmla="*/ 6952349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854719 w 9152614"/>
              <a:gd name="connsiteY4" fmla="*/ 59390 h 6869749"/>
              <a:gd name="connsiteX5" fmla="*/ 6952349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85954 w 9152614"/>
              <a:gd name="connsiteY7" fmla="*/ 13083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28799 w 9152614"/>
              <a:gd name="connsiteY3" fmla="*/ 59394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85954 w 9152614"/>
              <a:gd name="connsiteY7" fmla="*/ 13083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28799 w 9152614"/>
              <a:gd name="connsiteY3" fmla="*/ 59394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85954 w 9152614"/>
              <a:gd name="connsiteY7" fmla="*/ 13083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28799 w 9152614"/>
              <a:gd name="connsiteY3" fmla="*/ 59394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47854 w 9152614"/>
              <a:gd name="connsiteY7" fmla="*/ 116544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47849 w 9152614"/>
              <a:gd name="connsiteY3" fmla="*/ 116544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47854 w 9152614"/>
              <a:gd name="connsiteY7" fmla="*/ 116544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8645419 w 9152614"/>
              <a:gd name="connsiteY2" fmla="*/ 2243 h 6869749"/>
              <a:gd name="connsiteX3" fmla="*/ 9150245 w 9152614"/>
              <a:gd name="connsiteY3" fmla="*/ 2241 h 6869749"/>
              <a:gd name="connsiteX4" fmla="*/ 9047849 w 9152614"/>
              <a:gd name="connsiteY4" fmla="*/ 116544 h 6869749"/>
              <a:gd name="connsiteX5" fmla="*/ 6949969 w 9152614"/>
              <a:gd name="connsiteY5" fmla="*/ 114159 h 6869749"/>
              <a:gd name="connsiteX6" fmla="*/ 6952349 w 9152614"/>
              <a:gd name="connsiteY6" fmla="*/ 1059516 h 6869749"/>
              <a:gd name="connsiteX7" fmla="*/ 9047853 w 9152614"/>
              <a:gd name="connsiteY7" fmla="*/ 1059516 h 6869749"/>
              <a:gd name="connsiteX8" fmla="*/ 9047854 w 9152614"/>
              <a:gd name="connsiteY8" fmla="*/ 116544 h 6869749"/>
              <a:gd name="connsiteX9" fmla="*/ 9152614 w 9152614"/>
              <a:gd name="connsiteY9" fmla="*/ 0 h 6869749"/>
              <a:gd name="connsiteX10" fmla="*/ 9150246 w 9152614"/>
              <a:gd name="connsiteY10" fmla="*/ 6865003 h 6869749"/>
              <a:gd name="connsiteX11" fmla="*/ 0 w 9152614"/>
              <a:gd name="connsiteY11" fmla="*/ 6869749 h 6869749"/>
              <a:gd name="connsiteX12" fmla="*/ 6255 w 9152614"/>
              <a:gd name="connsiteY12" fmla="*/ 2382 h 6869749"/>
              <a:gd name="connsiteX0" fmla="*/ 6255 w 9152614"/>
              <a:gd name="connsiteY0" fmla="*/ 4901 h 6872268"/>
              <a:gd name="connsiteX1" fmla="*/ 4578245 w 9152614"/>
              <a:gd name="connsiteY1" fmla="*/ 4760 h 6872268"/>
              <a:gd name="connsiteX2" fmla="*/ 9150244 w 9152614"/>
              <a:gd name="connsiteY2" fmla="*/ 0 h 6872268"/>
              <a:gd name="connsiteX3" fmla="*/ 9150245 w 9152614"/>
              <a:gd name="connsiteY3" fmla="*/ 4760 h 6872268"/>
              <a:gd name="connsiteX4" fmla="*/ 9047849 w 9152614"/>
              <a:gd name="connsiteY4" fmla="*/ 119063 h 6872268"/>
              <a:gd name="connsiteX5" fmla="*/ 6949969 w 9152614"/>
              <a:gd name="connsiteY5" fmla="*/ 116678 h 6872268"/>
              <a:gd name="connsiteX6" fmla="*/ 6952349 w 9152614"/>
              <a:gd name="connsiteY6" fmla="*/ 1062035 h 6872268"/>
              <a:gd name="connsiteX7" fmla="*/ 9047853 w 9152614"/>
              <a:gd name="connsiteY7" fmla="*/ 1062035 h 6872268"/>
              <a:gd name="connsiteX8" fmla="*/ 9047854 w 9152614"/>
              <a:gd name="connsiteY8" fmla="*/ 119063 h 6872268"/>
              <a:gd name="connsiteX9" fmla="*/ 9152614 w 9152614"/>
              <a:gd name="connsiteY9" fmla="*/ 2519 h 6872268"/>
              <a:gd name="connsiteX10" fmla="*/ 9150246 w 9152614"/>
              <a:gd name="connsiteY10" fmla="*/ 6867522 h 6872268"/>
              <a:gd name="connsiteX11" fmla="*/ 0 w 9152614"/>
              <a:gd name="connsiteY11" fmla="*/ 6872268 h 6872268"/>
              <a:gd name="connsiteX12" fmla="*/ 6255 w 9152614"/>
              <a:gd name="connsiteY12" fmla="*/ 4901 h 6872268"/>
              <a:gd name="connsiteX0" fmla="*/ 3874 w 9152614"/>
              <a:gd name="connsiteY0" fmla="*/ 2520 h 6872268"/>
              <a:gd name="connsiteX1" fmla="*/ 4578245 w 9152614"/>
              <a:gd name="connsiteY1" fmla="*/ 4760 h 6872268"/>
              <a:gd name="connsiteX2" fmla="*/ 9150244 w 9152614"/>
              <a:gd name="connsiteY2" fmla="*/ 0 h 6872268"/>
              <a:gd name="connsiteX3" fmla="*/ 9150245 w 9152614"/>
              <a:gd name="connsiteY3" fmla="*/ 4760 h 6872268"/>
              <a:gd name="connsiteX4" fmla="*/ 9047849 w 9152614"/>
              <a:gd name="connsiteY4" fmla="*/ 119063 h 6872268"/>
              <a:gd name="connsiteX5" fmla="*/ 6949969 w 9152614"/>
              <a:gd name="connsiteY5" fmla="*/ 116678 h 6872268"/>
              <a:gd name="connsiteX6" fmla="*/ 6952349 w 9152614"/>
              <a:gd name="connsiteY6" fmla="*/ 1062035 h 6872268"/>
              <a:gd name="connsiteX7" fmla="*/ 9047853 w 9152614"/>
              <a:gd name="connsiteY7" fmla="*/ 1062035 h 6872268"/>
              <a:gd name="connsiteX8" fmla="*/ 9047854 w 9152614"/>
              <a:gd name="connsiteY8" fmla="*/ 119063 h 6872268"/>
              <a:gd name="connsiteX9" fmla="*/ 9152614 w 9152614"/>
              <a:gd name="connsiteY9" fmla="*/ 2519 h 6872268"/>
              <a:gd name="connsiteX10" fmla="*/ 9150246 w 9152614"/>
              <a:gd name="connsiteY10" fmla="*/ 6867522 h 6872268"/>
              <a:gd name="connsiteX11" fmla="*/ 0 w 9152614"/>
              <a:gd name="connsiteY11" fmla="*/ 6872268 h 6872268"/>
              <a:gd name="connsiteX12" fmla="*/ 3874 w 9152614"/>
              <a:gd name="connsiteY12" fmla="*/ 2520 h 6872268"/>
              <a:gd name="connsiteX0" fmla="*/ 12187 w 9160927"/>
              <a:gd name="connsiteY0" fmla="*/ 2520 h 6880580"/>
              <a:gd name="connsiteX1" fmla="*/ 4586558 w 9160927"/>
              <a:gd name="connsiteY1" fmla="*/ 4760 h 6880580"/>
              <a:gd name="connsiteX2" fmla="*/ 9158557 w 9160927"/>
              <a:gd name="connsiteY2" fmla="*/ 0 h 6880580"/>
              <a:gd name="connsiteX3" fmla="*/ 9158558 w 9160927"/>
              <a:gd name="connsiteY3" fmla="*/ 4760 h 6880580"/>
              <a:gd name="connsiteX4" fmla="*/ 9056162 w 9160927"/>
              <a:gd name="connsiteY4" fmla="*/ 119063 h 6880580"/>
              <a:gd name="connsiteX5" fmla="*/ 6958282 w 9160927"/>
              <a:gd name="connsiteY5" fmla="*/ 116678 h 6880580"/>
              <a:gd name="connsiteX6" fmla="*/ 6960662 w 9160927"/>
              <a:gd name="connsiteY6" fmla="*/ 1062035 h 6880580"/>
              <a:gd name="connsiteX7" fmla="*/ 9056166 w 9160927"/>
              <a:gd name="connsiteY7" fmla="*/ 1062035 h 6880580"/>
              <a:gd name="connsiteX8" fmla="*/ 9056167 w 9160927"/>
              <a:gd name="connsiteY8" fmla="*/ 119063 h 6880580"/>
              <a:gd name="connsiteX9" fmla="*/ 9160927 w 9160927"/>
              <a:gd name="connsiteY9" fmla="*/ 2519 h 6880580"/>
              <a:gd name="connsiteX10" fmla="*/ 9158559 w 9160927"/>
              <a:gd name="connsiteY10" fmla="*/ 6867522 h 6880580"/>
              <a:gd name="connsiteX11" fmla="*/ 0 w 9160927"/>
              <a:gd name="connsiteY11" fmla="*/ 6880580 h 6880580"/>
              <a:gd name="connsiteX12" fmla="*/ 12187 w 9160927"/>
              <a:gd name="connsiteY12" fmla="*/ 2520 h 6880580"/>
              <a:gd name="connsiteX0" fmla="*/ 12187 w 9175212"/>
              <a:gd name="connsiteY0" fmla="*/ 2520 h 6880580"/>
              <a:gd name="connsiteX1" fmla="*/ 4586558 w 9175212"/>
              <a:gd name="connsiteY1" fmla="*/ 4760 h 6880580"/>
              <a:gd name="connsiteX2" fmla="*/ 9158557 w 9175212"/>
              <a:gd name="connsiteY2" fmla="*/ 0 h 6880580"/>
              <a:gd name="connsiteX3" fmla="*/ 9158558 w 9175212"/>
              <a:gd name="connsiteY3" fmla="*/ 4760 h 6880580"/>
              <a:gd name="connsiteX4" fmla="*/ 9056162 w 9175212"/>
              <a:gd name="connsiteY4" fmla="*/ 119063 h 6880580"/>
              <a:gd name="connsiteX5" fmla="*/ 6958282 w 9175212"/>
              <a:gd name="connsiteY5" fmla="*/ 116678 h 6880580"/>
              <a:gd name="connsiteX6" fmla="*/ 6960662 w 9175212"/>
              <a:gd name="connsiteY6" fmla="*/ 1062035 h 6880580"/>
              <a:gd name="connsiteX7" fmla="*/ 9056166 w 9175212"/>
              <a:gd name="connsiteY7" fmla="*/ 1062035 h 6880580"/>
              <a:gd name="connsiteX8" fmla="*/ 9056167 w 9175212"/>
              <a:gd name="connsiteY8" fmla="*/ 119063 h 6880580"/>
              <a:gd name="connsiteX9" fmla="*/ 9160927 w 9175212"/>
              <a:gd name="connsiteY9" fmla="*/ 2519 h 6880580"/>
              <a:gd name="connsiteX10" fmla="*/ 9175184 w 9175212"/>
              <a:gd name="connsiteY10" fmla="*/ 6875835 h 6880580"/>
              <a:gd name="connsiteX11" fmla="*/ 0 w 9175212"/>
              <a:gd name="connsiteY11" fmla="*/ 6880580 h 6880580"/>
              <a:gd name="connsiteX12" fmla="*/ 12187 w 9175212"/>
              <a:gd name="connsiteY12" fmla="*/ 2520 h 6880580"/>
              <a:gd name="connsiteX0" fmla="*/ 12187 w 9849834"/>
              <a:gd name="connsiteY0" fmla="*/ 343708 h 7221768"/>
              <a:gd name="connsiteX1" fmla="*/ 4586558 w 9849834"/>
              <a:gd name="connsiteY1" fmla="*/ 345948 h 7221768"/>
              <a:gd name="connsiteX2" fmla="*/ 9158557 w 9849834"/>
              <a:gd name="connsiteY2" fmla="*/ 341188 h 7221768"/>
              <a:gd name="connsiteX3" fmla="*/ 9158558 w 9849834"/>
              <a:gd name="connsiteY3" fmla="*/ 345948 h 7221768"/>
              <a:gd name="connsiteX4" fmla="*/ 9056162 w 9849834"/>
              <a:gd name="connsiteY4" fmla="*/ 460251 h 7221768"/>
              <a:gd name="connsiteX5" fmla="*/ 6958282 w 9849834"/>
              <a:gd name="connsiteY5" fmla="*/ 457866 h 7221768"/>
              <a:gd name="connsiteX6" fmla="*/ 6960662 w 9849834"/>
              <a:gd name="connsiteY6" fmla="*/ 1403223 h 7221768"/>
              <a:gd name="connsiteX7" fmla="*/ 9056166 w 9849834"/>
              <a:gd name="connsiteY7" fmla="*/ 1403223 h 7221768"/>
              <a:gd name="connsiteX8" fmla="*/ 9056167 w 9849834"/>
              <a:gd name="connsiteY8" fmla="*/ 460251 h 7221768"/>
              <a:gd name="connsiteX9" fmla="*/ 9160927 w 9849834"/>
              <a:gd name="connsiteY9" fmla="*/ 343707 h 7221768"/>
              <a:gd name="connsiteX10" fmla="*/ 9158557 w 9849834"/>
              <a:gd name="connsiteY10" fmla="*/ 570394 h 7221768"/>
              <a:gd name="connsiteX11" fmla="*/ 9175184 w 9849834"/>
              <a:gd name="connsiteY11" fmla="*/ 7217023 h 7221768"/>
              <a:gd name="connsiteX12" fmla="*/ 0 w 9849834"/>
              <a:gd name="connsiteY12" fmla="*/ 7221768 h 7221768"/>
              <a:gd name="connsiteX13" fmla="*/ 12187 w 9849834"/>
              <a:gd name="connsiteY13" fmla="*/ 343708 h 7221768"/>
              <a:gd name="connsiteX0" fmla="*/ 12187 w 9175184"/>
              <a:gd name="connsiteY0" fmla="*/ 343708 h 7221768"/>
              <a:gd name="connsiteX1" fmla="*/ 4586558 w 9175184"/>
              <a:gd name="connsiteY1" fmla="*/ 345948 h 7221768"/>
              <a:gd name="connsiteX2" fmla="*/ 9158557 w 9175184"/>
              <a:gd name="connsiteY2" fmla="*/ 341188 h 7221768"/>
              <a:gd name="connsiteX3" fmla="*/ 9158558 w 9175184"/>
              <a:gd name="connsiteY3" fmla="*/ 345948 h 7221768"/>
              <a:gd name="connsiteX4" fmla="*/ 9056162 w 9175184"/>
              <a:gd name="connsiteY4" fmla="*/ 460251 h 7221768"/>
              <a:gd name="connsiteX5" fmla="*/ 6958282 w 9175184"/>
              <a:gd name="connsiteY5" fmla="*/ 457866 h 7221768"/>
              <a:gd name="connsiteX6" fmla="*/ 6960662 w 9175184"/>
              <a:gd name="connsiteY6" fmla="*/ 1403223 h 7221768"/>
              <a:gd name="connsiteX7" fmla="*/ 9056166 w 9175184"/>
              <a:gd name="connsiteY7" fmla="*/ 1403223 h 7221768"/>
              <a:gd name="connsiteX8" fmla="*/ 9056167 w 9175184"/>
              <a:gd name="connsiteY8" fmla="*/ 460251 h 7221768"/>
              <a:gd name="connsiteX9" fmla="*/ 9160927 w 9175184"/>
              <a:gd name="connsiteY9" fmla="*/ 343707 h 7221768"/>
              <a:gd name="connsiteX10" fmla="*/ 9158557 w 9175184"/>
              <a:gd name="connsiteY10" fmla="*/ 570394 h 7221768"/>
              <a:gd name="connsiteX11" fmla="*/ 9175184 w 9175184"/>
              <a:gd name="connsiteY11" fmla="*/ 7217023 h 7221768"/>
              <a:gd name="connsiteX12" fmla="*/ 0 w 9175184"/>
              <a:gd name="connsiteY12" fmla="*/ 7221768 h 7221768"/>
              <a:gd name="connsiteX13" fmla="*/ 12187 w 9175184"/>
              <a:gd name="connsiteY13" fmla="*/ 343708 h 7221768"/>
              <a:gd name="connsiteX0" fmla="*/ 12187 w 9865171"/>
              <a:gd name="connsiteY0" fmla="*/ 99019 h 6977079"/>
              <a:gd name="connsiteX1" fmla="*/ 4586558 w 9865171"/>
              <a:gd name="connsiteY1" fmla="*/ 101259 h 6977079"/>
              <a:gd name="connsiteX2" fmla="*/ 9158557 w 9865171"/>
              <a:gd name="connsiteY2" fmla="*/ 96499 h 6977079"/>
              <a:gd name="connsiteX3" fmla="*/ 9158558 w 9865171"/>
              <a:gd name="connsiteY3" fmla="*/ 101259 h 6977079"/>
              <a:gd name="connsiteX4" fmla="*/ 9056162 w 9865171"/>
              <a:gd name="connsiteY4" fmla="*/ 215562 h 6977079"/>
              <a:gd name="connsiteX5" fmla="*/ 6958282 w 9865171"/>
              <a:gd name="connsiteY5" fmla="*/ 213177 h 6977079"/>
              <a:gd name="connsiteX6" fmla="*/ 6960662 w 9865171"/>
              <a:gd name="connsiteY6" fmla="*/ 1158534 h 6977079"/>
              <a:gd name="connsiteX7" fmla="*/ 9056166 w 9865171"/>
              <a:gd name="connsiteY7" fmla="*/ 1158534 h 6977079"/>
              <a:gd name="connsiteX8" fmla="*/ 9056167 w 9865171"/>
              <a:gd name="connsiteY8" fmla="*/ 215562 h 6977079"/>
              <a:gd name="connsiteX9" fmla="*/ 9160927 w 9865171"/>
              <a:gd name="connsiteY9" fmla="*/ 99018 h 6977079"/>
              <a:gd name="connsiteX10" fmla="*/ 9865139 w 9865171"/>
              <a:gd name="connsiteY10" fmla="*/ 749654 h 6977079"/>
              <a:gd name="connsiteX11" fmla="*/ 9175184 w 9865171"/>
              <a:gd name="connsiteY11" fmla="*/ 6972334 h 6977079"/>
              <a:gd name="connsiteX12" fmla="*/ 0 w 9865171"/>
              <a:gd name="connsiteY12" fmla="*/ 6977079 h 6977079"/>
              <a:gd name="connsiteX13" fmla="*/ 12187 w 9865171"/>
              <a:gd name="connsiteY13" fmla="*/ 99019 h 6977079"/>
              <a:gd name="connsiteX0" fmla="*/ 12187 w 9865171"/>
              <a:gd name="connsiteY0" fmla="*/ 2520 h 6880580"/>
              <a:gd name="connsiteX1" fmla="*/ 4586558 w 9865171"/>
              <a:gd name="connsiteY1" fmla="*/ 4760 h 6880580"/>
              <a:gd name="connsiteX2" fmla="*/ 9158557 w 9865171"/>
              <a:gd name="connsiteY2" fmla="*/ 0 h 6880580"/>
              <a:gd name="connsiteX3" fmla="*/ 9158558 w 9865171"/>
              <a:gd name="connsiteY3" fmla="*/ 4760 h 6880580"/>
              <a:gd name="connsiteX4" fmla="*/ 9056162 w 9865171"/>
              <a:gd name="connsiteY4" fmla="*/ 119063 h 6880580"/>
              <a:gd name="connsiteX5" fmla="*/ 6958282 w 9865171"/>
              <a:gd name="connsiteY5" fmla="*/ 116678 h 6880580"/>
              <a:gd name="connsiteX6" fmla="*/ 6960662 w 9865171"/>
              <a:gd name="connsiteY6" fmla="*/ 1062035 h 6880580"/>
              <a:gd name="connsiteX7" fmla="*/ 9056166 w 9865171"/>
              <a:gd name="connsiteY7" fmla="*/ 1062035 h 6880580"/>
              <a:gd name="connsiteX8" fmla="*/ 9056167 w 9865171"/>
              <a:gd name="connsiteY8" fmla="*/ 119063 h 6880580"/>
              <a:gd name="connsiteX9" fmla="*/ 9160927 w 9865171"/>
              <a:gd name="connsiteY9" fmla="*/ 2519 h 6880580"/>
              <a:gd name="connsiteX10" fmla="*/ 9865139 w 9865171"/>
              <a:gd name="connsiteY10" fmla="*/ 653155 h 6880580"/>
              <a:gd name="connsiteX11" fmla="*/ 9175184 w 9865171"/>
              <a:gd name="connsiteY11" fmla="*/ 6875835 h 6880580"/>
              <a:gd name="connsiteX12" fmla="*/ 0 w 9865171"/>
              <a:gd name="connsiteY12" fmla="*/ 6880580 h 6880580"/>
              <a:gd name="connsiteX13" fmla="*/ 12187 w 9865171"/>
              <a:gd name="connsiteY13" fmla="*/ 2520 h 6880580"/>
              <a:gd name="connsiteX0" fmla="*/ 12187 w 9865139"/>
              <a:gd name="connsiteY0" fmla="*/ 2520 h 6880580"/>
              <a:gd name="connsiteX1" fmla="*/ 4586558 w 9865139"/>
              <a:gd name="connsiteY1" fmla="*/ 4760 h 6880580"/>
              <a:gd name="connsiteX2" fmla="*/ 9158557 w 9865139"/>
              <a:gd name="connsiteY2" fmla="*/ 0 h 6880580"/>
              <a:gd name="connsiteX3" fmla="*/ 9158558 w 9865139"/>
              <a:gd name="connsiteY3" fmla="*/ 4760 h 6880580"/>
              <a:gd name="connsiteX4" fmla="*/ 9056162 w 9865139"/>
              <a:gd name="connsiteY4" fmla="*/ 119063 h 6880580"/>
              <a:gd name="connsiteX5" fmla="*/ 6958282 w 9865139"/>
              <a:gd name="connsiteY5" fmla="*/ 116678 h 6880580"/>
              <a:gd name="connsiteX6" fmla="*/ 6960662 w 9865139"/>
              <a:gd name="connsiteY6" fmla="*/ 1062035 h 6880580"/>
              <a:gd name="connsiteX7" fmla="*/ 9056166 w 9865139"/>
              <a:gd name="connsiteY7" fmla="*/ 1062035 h 6880580"/>
              <a:gd name="connsiteX8" fmla="*/ 9056167 w 9865139"/>
              <a:gd name="connsiteY8" fmla="*/ 119063 h 6880580"/>
              <a:gd name="connsiteX9" fmla="*/ 9160927 w 9865139"/>
              <a:gd name="connsiteY9" fmla="*/ 2519 h 6880580"/>
              <a:gd name="connsiteX10" fmla="*/ 9865139 w 9865139"/>
              <a:gd name="connsiteY10" fmla="*/ 653155 h 6880580"/>
              <a:gd name="connsiteX11" fmla="*/ 9175184 w 9865139"/>
              <a:gd name="connsiteY11" fmla="*/ 6875835 h 6880580"/>
              <a:gd name="connsiteX12" fmla="*/ 0 w 9865139"/>
              <a:gd name="connsiteY12" fmla="*/ 6880580 h 6880580"/>
              <a:gd name="connsiteX13" fmla="*/ 12187 w 9865139"/>
              <a:gd name="connsiteY13" fmla="*/ 2520 h 6880580"/>
              <a:gd name="connsiteX0" fmla="*/ 12187 w 9175184"/>
              <a:gd name="connsiteY0" fmla="*/ 2520 h 6880580"/>
              <a:gd name="connsiteX1" fmla="*/ 4586558 w 9175184"/>
              <a:gd name="connsiteY1" fmla="*/ 4760 h 6880580"/>
              <a:gd name="connsiteX2" fmla="*/ 9158557 w 9175184"/>
              <a:gd name="connsiteY2" fmla="*/ 0 h 6880580"/>
              <a:gd name="connsiteX3" fmla="*/ 9158558 w 9175184"/>
              <a:gd name="connsiteY3" fmla="*/ 4760 h 6880580"/>
              <a:gd name="connsiteX4" fmla="*/ 9056162 w 9175184"/>
              <a:gd name="connsiteY4" fmla="*/ 119063 h 6880580"/>
              <a:gd name="connsiteX5" fmla="*/ 6958282 w 9175184"/>
              <a:gd name="connsiteY5" fmla="*/ 116678 h 6880580"/>
              <a:gd name="connsiteX6" fmla="*/ 6960662 w 9175184"/>
              <a:gd name="connsiteY6" fmla="*/ 1062035 h 6880580"/>
              <a:gd name="connsiteX7" fmla="*/ 9056166 w 9175184"/>
              <a:gd name="connsiteY7" fmla="*/ 1062035 h 6880580"/>
              <a:gd name="connsiteX8" fmla="*/ 9056167 w 9175184"/>
              <a:gd name="connsiteY8" fmla="*/ 119063 h 6880580"/>
              <a:gd name="connsiteX9" fmla="*/ 9160927 w 9175184"/>
              <a:gd name="connsiteY9" fmla="*/ 2519 h 6880580"/>
              <a:gd name="connsiteX10" fmla="*/ 9175182 w 9175184"/>
              <a:gd name="connsiteY10" fmla="*/ 96202 h 6880580"/>
              <a:gd name="connsiteX11" fmla="*/ 9175184 w 9175184"/>
              <a:gd name="connsiteY11" fmla="*/ 6875835 h 6880580"/>
              <a:gd name="connsiteX12" fmla="*/ 0 w 9175184"/>
              <a:gd name="connsiteY12" fmla="*/ 6880580 h 6880580"/>
              <a:gd name="connsiteX13" fmla="*/ 12187 w 9175184"/>
              <a:gd name="connsiteY13" fmla="*/ 2520 h 6880580"/>
              <a:gd name="connsiteX0" fmla="*/ 12187 w 9333124"/>
              <a:gd name="connsiteY0" fmla="*/ 2520 h 6880580"/>
              <a:gd name="connsiteX1" fmla="*/ 4586558 w 9333124"/>
              <a:gd name="connsiteY1" fmla="*/ 4760 h 6880580"/>
              <a:gd name="connsiteX2" fmla="*/ 9158557 w 9333124"/>
              <a:gd name="connsiteY2" fmla="*/ 0 h 6880580"/>
              <a:gd name="connsiteX3" fmla="*/ 9158558 w 9333124"/>
              <a:gd name="connsiteY3" fmla="*/ 4760 h 6880580"/>
              <a:gd name="connsiteX4" fmla="*/ 9056162 w 9333124"/>
              <a:gd name="connsiteY4" fmla="*/ 119063 h 6880580"/>
              <a:gd name="connsiteX5" fmla="*/ 6958282 w 9333124"/>
              <a:gd name="connsiteY5" fmla="*/ 116678 h 6880580"/>
              <a:gd name="connsiteX6" fmla="*/ 6960662 w 9333124"/>
              <a:gd name="connsiteY6" fmla="*/ 1062035 h 6880580"/>
              <a:gd name="connsiteX7" fmla="*/ 9056166 w 9333124"/>
              <a:gd name="connsiteY7" fmla="*/ 1062035 h 6880580"/>
              <a:gd name="connsiteX8" fmla="*/ 9056167 w 9333124"/>
              <a:gd name="connsiteY8" fmla="*/ 119063 h 6880580"/>
              <a:gd name="connsiteX9" fmla="*/ 9160927 w 9333124"/>
              <a:gd name="connsiteY9" fmla="*/ 2519 h 6880580"/>
              <a:gd name="connsiteX10" fmla="*/ 9333124 w 9333124"/>
              <a:gd name="connsiteY10" fmla="*/ 337271 h 6880580"/>
              <a:gd name="connsiteX11" fmla="*/ 9175184 w 9333124"/>
              <a:gd name="connsiteY11" fmla="*/ 6875835 h 6880580"/>
              <a:gd name="connsiteX12" fmla="*/ 0 w 9333124"/>
              <a:gd name="connsiteY12" fmla="*/ 6880580 h 6880580"/>
              <a:gd name="connsiteX13" fmla="*/ 12187 w 9333124"/>
              <a:gd name="connsiteY13" fmla="*/ 2520 h 6880580"/>
              <a:gd name="connsiteX0" fmla="*/ 12187 w 9175184"/>
              <a:gd name="connsiteY0" fmla="*/ 2520 h 6880580"/>
              <a:gd name="connsiteX1" fmla="*/ 4586558 w 9175184"/>
              <a:gd name="connsiteY1" fmla="*/ 4760 h 6880580"/>
              <a:gd name="connsiteX2" fmla="*/ 9158557 w 9175184"/>
              <a:gd name="connsiteY2" fmla="*/ 0 h 6880580"/>
              <a:gd name="connsiteX3" fmla="*/ 9158558 w 9175184"/>
              <a:gd name="connsiteY3" fmla="*/ 4760 h 6880580"/>
              <a:gd name="connsiteX4" fmla="*/ 9056162 w 9175184"/>
              <a:gd name="connsiteY4" fmla="*/ 119063 h 6880580"/>
              <a:gd name="connsiteX5" fmla="*/ 6958282 w 9175184"/>
              <a:gd name="connsiteY5" fmla="*/ 116678 h 6880580"/>
              <a:gd name="connsiteX6" fmla="*/ 6960662 w 9175184"/>
              <a:gd name="connsiteY6" fmla="*/ 1062035 h 6880580"/>
              <a:gd name="connsiteX7" fmla="*/ 9056166 w 9175184"/>
              <a:gd name="connsiteY7" fmla="*/ 1062035 h 6880580"/>
              <a:gd name="connsiteX8" fmla="*/ 9056167 w 9175184"/>
              <a:gd name="connsiteY8" fmla="*/ 119063 h 6880580"/>
              <a:gd name="connsiteX9" fmla="*/ 9160927 w 9175184"/>
              <a:gd name="connsiteY9" fmla="*/ 2519 h 6880580"/>
              <a:gd name="connsiteX10" fmla="*/ 9166869 w 9175184"/>
              <a:gd name="connsiteY10" fmla="*/ 129453 h 6880580"/>
              <a:gd name="connsiteX11" fmla="*/ 9175184 w 9175184"/>
              <a:gd name="connsiteY11" fmla="*/ 6875835 h 6880580"/>
              <a:gd name="connsiteX12" fmla="*/ 0 w 9175184"/>
              <a:gd name="connsiteY12" fmla="*/ 6880580 h 6880580"/>
              <a:gd name="connsiteX13" fmla="*/ 12187 w 9175184"/>
              <a:gd name="connsiteY13" fmla="*/ 2520 h 6880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75184" h="6880580">
                <a:moveTo>
                  <a:pt x="12187" y="2520"/>
                </a:moveTo>
                <a:lnTo>
                  <a:pt x="4586558" y="4760"/>
                </a:lnTo>
                <a:lnTo>
                  <a:pt x="9158557" y="0"/>
                </a:lnTo>
                <a:cubicBezTo>
                  <a:pt x="9158557" y="1587"/>
                  <a:pt x="9158558" y="3173"/>
                  <a:pt x="9158558" y="4760"/>
                </a:cubicBezTo>
                <a:lnTo>
                  <a:pt x="9056162" y="119063"/>
                </a:lnTo>
                <a:lnTo>
                  <a:pt x="6958282" y="116678"/>
                </a:lnTo>
                <a:cubicBezTo>
                  <a:pt x="6959075" y="431797"/>
                  <a:pt x="6959869" y="746916"/>
                  <a:pt x="6960662" y="1062035"/>
                </a:cubicBezTo>
                <a:lnTo>
                  <a:pt x="9056166" y="1062035"/>
                </a:lnTo>
                <a:cubicBezTo>
                  <a:pt x="9056166" y="747711"/>
                  <a:pt x="9056167" y="433387"/>
                  <a:pt x="9056167" y="119063"/>
                </a:cubicBezTo>
                <a:lnTo>
                  <a:pt x="9160927" y="2519"/>
                </a:lnTo>
                <a:lnTo>
                  <a:pt x="9166869" y="129453"/>
                </a:lnTo>
                <a:cubicBezTo>
                  <a:pt x="9166870" y="2389331"/>
                  <a:pt x="9175183" y="4615957"/>
                  <a:pt x="9175184" y="6875835"/>
                </a:cubicBezTo>
                <a:lnTo>
                  <a:pt x="0" y="6880580"/>
                </a:lnTo>
                <a:cubicBezTo>
                  <a:pt x="1291" y="4590664"/>
                  <a:pt x="10896" y="2292436"/>
                  <a:pt x="12187" y="2520"/>
                </a:cubicBezTo>
                <a:close/>
              </a:path>
            </a:pathLst>
          </a:custGeom>
        </p:spPr>
        <p:txBody>
          <a:bodyPr anchor="ctr"/>
          <a:lstStyle>
            <a:lvl1pPr algn="ctr">
              <a:defRPr/>
            </a:lvl1pPr>
          </a:lstStyle>
          <a:p>
            <a:r>
              <a:rPr lang="en-GB" noProof="0" smtClean="0"/>
              <a:t>Bildplatzhalter</a:t>
            </a:r>
            <a:endParaRPr lang="en-GB" noProof="0"/>
          </a:p>
        </p:txBody>
      </p:sp>
      <p:sp>
        <p:nvSpPr>
          <p:cNvPr id="11" name="Textplatzhalter 13"/>
          <p:cNvSpPr>
            <a:spLocks noGrp="1"/>
          </p:cNvSpPr>
          <p:nvPr>
            <p:ph type="body" sz="quarter" idx="13"/>
          </p:nvPr>
        </p:nvSpPr>
        <p:spPr bwMode="gray">
          <a:xfrm>
            <a:off x="179388" y="2736627"/>
            <a:ext cx="5400675" cy="2159223"/>
          </a:xfrm>
          <a:solidFill>
            <a:schemeClr val="bg1">
              <a:alpha val="85000"/>
            </a:schemeClr>
          </a:solidFill>
          <a:effectLst>
            <a:outerShdw blurRad="76200" sx="101000" sy="101000" algn="ctr" rotWithShape="0">
              <a:schemeClr val="tx1">
                <a:alpha val="30000"/>
              </a:schemeClr>
            </a:outerShdw>
          </a:effectLst>
        </p:spPr>
        <p:txBody>
          <a:bodyPr lIns="173988" tIns="173988" rIns="173988" bIns="173988" anchor="b" anchorCtr="0"/>
          <a:lstStyle>
            <a:lvl1pPr>
              <a:spcBef>
                <a:spcPts val="0"/>
              </a:spcBef>
              <a:spcAft>
                <a:spcPts val="0"/>
              </a:spcAft>
              <a:defRPr sz="1400">
                <a:solidFill>
                  <a:schemeClr val="bg2"/>
                </a:solidFill>
              </a:defRPr>
            </a:lvl1pPr>
            <a:lvl2pPr>
              <a:spcBef>
                <a:spcPts val="0"/>
              </a:spcBef>
              <a:spcAft>
                <a:spcPts val="0"/>
              </a:spcAft>
              <a:defRPr sz="1400">
                <a:solidFill>
                  <a:schemeClr val="bg2"/>
                </a:solidFill>
              </a:defRPr>
            </a:lvl2pPr>
            <a:lvl3pPr>
              <a:spcBef>
                <a:spcPts val="0"/>
              </a:spcBef>
              <a:spcAft>
                <a:spcPts val="0"/>
              </a:spcAft>
              <a:defRPr sz="1400">
                <a:solidFill>
                  <a:schemeClr val="bg2"/>
                </a:solidFill>
              </a:defRPr>
            </a:lvl3pPr>
            <a:lvl4pPr>
              <a:spcBef>
                <a:spcPts val="0"/>
              </a:spcBef>
              <a:spcAft>
                <a:spcPts val="0"/>
              </a:spcAft>
              <a:defRPr sz="1400">
                <a:solidFill>
                  <a:schemeClr val="bg2"/>
                </a:solidFill>
              </a:defRPr>
            </a:lvl4pPr>
            <a:lvl5pPr>
              <a:spcBef>
                <a:spcPts val="0"/>
              </a:spcBef>
              <a:spcAft>
                <a:spcPts val="0"/>
              </a:spcAft>
              <a:defRPr sz="1400">
                <a:solidFill>
                  <a:schemeClr val="bg2"/>
                </a:solidFill>
              </a:defRPr>
            </a:lvl5pPr>
            <a:lvl6pPr>
              <a:spcBef>
                <a:spcPts val="0"/>
              </a:spcBef>
              <a:spcAft>
                <a:spcPts val="0"/>
              </a:spcAft>
              <a:defRPr sz="1400">
                <a:solidFill>
                  <a:schemeClr val="bg2"/>
                </a:solidFill>
              </a:defRPr>
            </a:lvl6pPr>
            <a:lvl7pPr>
              <a:spcBef>
                <a:spcPts val="0"/>
              </a:spcBef>
              <a:spcAft>
                <a:spcPts val="0"/>
              </a:spcAft>
              <a:defRPr sz="1400">
                <a:solidFill>
                  <a:schemeClr val="bg2"/>
                </a:solidFill>
              </a:defRPr>
            </a:lvl7pPr>
            <a:lvl8pPr>
              <a:spcBef>
                <a:spcPts val="0"/>
              </a:spcBef>
              <a:spcAft>
                <a:spcPts val="0"/>
              </a:spcAft>
              <a:defRPr sz="1400">
                <a:solidFill>
                  <a:schemeClr val="bg2"/>
                </a:solidFill>
              </a:defRPr>
            </a:lvl8pPr>
            <a:lvl9pPr>
              <a:spcBef>
                <a:spcPts val="0"/>
              </a:spcBef>
              <a:spcAft>
                <a:spcPts val="0"/>
              </a:spcAft>
              <a:defRPr sz="1400">
                <a:solidFill>
                  <a:schemeClr val="bg2"/>
                </a:solidFill>
              </a:defRPr>
            </a:lvl9pPr>
          </a:lstStyle>
          <a:p>
            <a:pPr lvl="0"/>
            <a:r>
              <a:rPr lang="de-DE" smtClean="0"/>
              <a:t>Textmasterformat bearbeiten</a:t>
            </a:r>
          </a:p>
        </p:txBody>
      </p:sp>
      <p:sp>
        <p:nvSpPr>
          <p:cNvPr id="8" name="Bildplatzhalter 8"/>
          <p:cNvSpPr>
            <a:spLocks noGrp="1"/>
          </p:cNvSpPr>
          <p:nvPr>
            <p:ph type="pic" sz="quarter" idx="11"/>
          </p:nvPr>
        </p:nvSpPr>
        <p:spPr bwMode="gray">
          <a:xfrm>
            <a:off x="5865230" y="5217338"/>
            <a:ext cx="1488438" cy="111900"/>
          </a:xfrm>
          <a:solidFill>
            <a:schemeClr val="tx2"/>
          </a:solidFill>
        </p:spPr>
        <p:txBody>
          <a:bodyPr/>
          <a:lstStyle>
            <a:lvl1pPr>
              <a:defRPr sz="100">
                <a:solidFill>
                  <a:schemeClr val="tx2"/>
                </a:solidFill>
              </a:defRPr>
            </a:lvl1pPr>
          </a:lstStyle>
          <a:p>
            <a:r>
              <a:rPr lang="de-DE" smtClean="0"/>
              <a:t>Bild durch Klicken auf Symbol hinzufügen</a:t>
            </a:r>
            <a:endParaRPr lang="de-DE"/>
          </a:p>
        </p:txBody>
      </p:sp>
      <p:sp>
        <p:nvSpPr>
          <p:cNvPr id="3" name="Textplatzhalter 2"/>
          <p:cNvSpPr>
            <a:spLocks noGrp="1"/>
          </p:cNvSpPr>
          <p:nvPr>
            <p:ph type="body" sz="quarter" idx="14"/>
          </p:nvPr>
        </p:nvSpPr>
        <p:spPr>
          <a:xfrm>
            <a:off x="5745773" y="90055"/>
            <a:ext cx="1726225" cy="727836"/>
          </a:xfrm>
          <a:ln>
            <a:solidFill>
              <a:schemeClr val="tx2"/>
            </a:solidFill>
          </a:ln>
        </p:spPr>
        <p:txBody>
          <a:bodyPr lIns="28998" tIns="28998"/>
          <a:lstStyle>
            <a:lvl1pPr marL="0" indent="0">
              <a:lnSpc>
                <a:spcPct val="100000"/>
              </a:lnSpc>
              <a:spcBef>
                <a:spcPts val="0"/>
              </a:spcBef>
              <a:spcAft>
                <a:spcPts val="0"/>
              </a:spcAft>
              <a:defRPr sz="100">
                <a:solidFill>
                  <a:schemeClr val="bg1"/>
                </a:solidFill>
              </a:defRPr>
            </a:lvl1pPr>
            <a:lvl2pPr marL="0" indent="0">
              <a:lnSpc>
                <a:spcPct val="100000"/>
              </a:lnSpc>
              <a:spcBef>
                <a:spcPts val="0"/>
              </a:spcBef>
              <a:spcAft>
                <a:spcPts val="0"/>
              </a:spcAft>
              <a:defRPr sz="100">
                <a:solidFill>
                  <a:schemeClr val="bg1"/>
                </a:solidFill>
              </a:defRPr>
            </a:lvl2pPr>
            <a:lvl3pPr marL="0" indent="0">
              <a:lnSpc>
                <a:spcPct val="100000"/>
              </a:lnSpc>
              <a:spcBef>
                <a:spcPts val="0"/>
              </a:spcBef>
              <a:spcAft>
                <a:spcPts val="0"/>
              </a:spcAft>
              <a:defRPr sz="100">
                <a:solidFill>
                  <a:schemeClr val="bg1"/>
                </a:solidFill>
              </a:defRPr>
            </a:lvl3pPr>
            <a:lvl4pPr marL="0" indent="0">
              <a:lnSpc>
                <a:spcPct val="100000"/>
              </a:lnSpc>
              <a:spcBef>
                <a:spcPts val="0"/>
              </a:spcBef>
              <a:spcAft>
                <a:spcPts val="0"/>
              </a:spcAft>
              <a:defRPr sz="100">
                <a:solidFill>
                  <a:schemeClr val="bg1"/>
                </a:solidFill>
              </a:defRPr>
            </a:lvl4pPr>
            <a:lvl5pPr marL="0" indent="0">
              <a:lnSpc>
                <a:spcPct val="100000"/>
              </a:lnSpc>
              <a:spcBef>
                <a:spcPts val="0"/>
              </a:spcBef>
              <a:spcAft>
                <a:spcPts val="0"/>
              </a:spcAft>
              <a:defRPr sz="100">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951214704"/>
      </p:ext>
    </p:extLst>
  </p:cSld>
  <p:clrMapOvr>
    <a:masterClrMapping/>
  </p:clrMapOvr>
  <p:transition spd="slow">
    <p:wipe/>
  </p:transition>
  <p:timing>
    <p:tnLst>
      <p:par>
        <p:cTn id="1" dur="indefinite" restart="never" nodeType="tmRoot"/>
      </p:par>
    </p:tnLst>
  </p:timing>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trenner&#10;Section Heading">
    <p:spTree>
      <p:nvGrpSpPr>
        <p:cNvPr id="1" name=""/>
        <p:cNvGrpSpPr/>
        <p:nvPr/>
      </p:nvGrpSpPr>
      <p:grpSpPr>
        <a:xfrm>
          <a:off x="0" y="0"/>
          <a:ext cx="0" cy="0"/>
          <a:chOff x="0" y="0"/>
          <a:chExt cx="0" cy="0"/>
        </a:xfrm>
      </p:grpSpPr>
      <p:sp>
        <p:nvSpPr>
          <p:cNvPr id="9" name="Bildplatzhalter 11"/>
          <p:cNvSpPr>
            <a:spLocks noGrp="1"/>
          </p:cNvSpPr>
          <p:nvPr>
            <p:ph type="pic" sz="quarter" idx="12" hasCustomPrompt="1"/>
          </p:nvPr>
        </p:nvSpPr>
        <p:spPr bwMode="gray">
          <a:xfrm>
            <a:off x="-12037" y="-3700"/>
            <a:ext cx="7587049" cy="5346785"/>
          </a:xfrm>
          <a:custGeom>
            <a:avLst/>
            <a:gdLst>
              <a:gd name="connsiteX0" fmla="*/ 10 w 9144000"/>
              <a:gd name="connsiteY0" fmla="*/ 2619516 h 6858000"/>
              <a:gd name="connsiteX1" fmla="*/ 4572000 w 9144000"/>
              <a:gd name="connsiteY1" fmla="*/ 0 h 6858000"/>
              <a:gd name="connsiteX2" fmla="*/ 9143990 w 9144000"/>
              <a:gd name="connsiteY2" fmla="*/ 2619516 h 6858000"/>
              <a:gd name="connsiteX3" fmla="*/ 7397645 w 9144000"/>
              <a:gd name="connsiteY3" fmla="*/ 6857983 h 6858000"/>
              <a:gd name="connsiteX4" fmla="*/ 1746355 w 9144000"/>
              <a:gd name="connsiteY4" fmla="*/ 6857983 h 6858000"/>
              <a:gd name="connsiteX5" fmla="*/ 10 w 9144000"/>
              <a:gd name="connsiteY5" fmla="*/ 2619516 h 6858000"/>
              <a:gd name="connsiteX0" fmla="*/ 0 w 9143980"/>
              <a:gd name="connsiteY0" fmla="*/ 141 h 6857983"/>
              <a:gd name="connsiteX1" fmla="*/ 4571990 w 9143980"/>
              <a:gd name="connsiteY1" fmla="*/ 0 h 6857983"/>
              <a:gd name="connsiteX2" fmla="*/ 9143980 w 9143980"/>
              <a:gd name="connsiteY2" fmla="*/ 2619516 h 6857983"/>
              <a:gd name="connsiteX3" fmla="*/ 7397635 w 9143980"/>
              <a:gd name="connsiteY3" fmla="*/ 6857983 h 6857983"/>
              <a:gd name="connsiteX4" fmla="*/ 1746345 w 9143980"/>
              <a:gd name="connsiteY4" fmla="*/ 6857983 h 6857983"/>
              <a:gd name="connsiteX5" fmla="*/ 0 w 9143980"/>
              <a:gd name="connsiteY5" fmla="*/ 141 h 6857983"/>
              <a:gd name="connsiteX0" fmla="*/ 6255 w 9150235"/>
              <a:gd name="connsiteY0" fmla="*/ 141 h 6867508"/>
              <a:gd name="connsiteX1" fmla="*/ 4578245 w 9150235"/>
              <a:gd name="connsiteY1" fmla="*/ 0 h 6867508"/>
              <a:gd name="connsiteX2" fmla="*/ 9150235 w 9150235"/>
              <a:gd name="connsiteY2" fmla="*/ 2619516 h 6867508"/>
              <a:gd name="connsiteX3" fmla="*/ 7403890 w 9150235"/>
              <a:gd name="connsiteY3" fmla="*/ 6857983 h 6867508"/>
              <a:gd name="connsiteX4" fmla="*/ 0 w 9150235"/>
              <a:gd name="connsiteY4" fmla="*/ 6867508 h 6867508"/>
              <a:gd name="connsiteX5" fmla="*/ 6255 w 9150235"/>
              <a:gd name="connsiteY5"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7108615 w 9150235"/>
              <a:gd name="connsiteY3" fmla="*/ 6857983 h 6867508"/>
              <a:gd name="connsiteX4" fmla="*/ 0 w 9150235"/>
              <a:gd name="connsiteY4" fmla="*/ 6867508 h 6867508"/>
              <a:gd name="connsiteX5" fmla="*/ 6255 w 9150235"/>
              <a:gd name="connsiteY5"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7888184 w 9150235"/>
              <a:gd name="connsiteY3" fmla="*/ 5243513 h 6867508"/>
              <a:gd name="connsiteX4" fmla="*/ 7108615 w 9150235"/>
              <a:gd name="connsiteY4" fmla="*/ 6857983 h 6867508"/>
              <a:gd name="connsiteX5" fmla="*/ 0 w 9150235"/>
              <a:gd name="connsiteY5" fmla="*/ 6867508 h 6867508"/>
              <a:gd name="connsiteX6" fmla="*/ 6255 w 9150235"/>
              <a:gd name="connsiteY6"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7888184 w 9150235"/>
              <a:gd name="connsiteY3" fmla="*/ 5243513 h 6867508"/>
              <a:gd name="connsiteX4" fmla="*/ 7307159 w 9150235"/>
              <a:gd name="connsiteY4" fmla="*/ 6448425 h 6867508"/>
              <a:gd name="connsiteX5" fmla="*/ 7108615 w 9150235"/>
              <a:gd name="connsiteY5" fmla="*/ 6857983 h 6867508"/>
              <a:gd name="connsiteX6" fmla="*/ 0 w 9150235"/>
              <a:gd name="connsiteY6" fmla="*/ 6867508 h 6867508"/>
              <a:gd name="connsiteX7" fmla="*/ 6255 w 9150235"/>
              <a:gd name="connsiteY7"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7888184 w 9150235"/>
              <a:gd name="connsiteY3" fmla="*/ 5243513 h 6867508"/>
              <a:gd name="connsiteX4" fmla="*/ 7111896 w 9150235"/>
              <a:gd name="connsiteY4" fmla="*/ 6662737 h 6867508"/>
              <a:gd name="connsiteX5" fmla="*/ 7108615 w 9150235"/>
              <a:gd name="connsiteY5" fmla="*/ 6857983 h 6867508"/>
              <a:gd name="connsiteX6" fmla="*/ 0 w 9150235"/>
              <a:gd name="connsiteY6" fmla="*/ 6867508 h 6867508"/>
              <a:gd name="connsiteX7" fmla="*/ 6255 w 9150235"/>
              <a:gd name="connsiteY7"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8907359 w 9150235"/>
              <a:gd name="connsiteY3" fmla="*/ 6653213 h 6867508"/>
              <a:gd name="connsiteX4" fmla="*/ 7111896 w 9150235"/>
              <a:gd name="connsiteY4" fmla="*/ 6662737 h 6867508"/>
              <a:gd name="connsiteX5" fmla="*/ 7108615 w 9150235"/>
              <a:gd name="connsiteY5" fmla="*/ 6857983 h 6867508"/>
              <a:gd name="connsiteX6" fmla="*/ 0 w 9150235"/>
              <a:gd name="connsiteY6" fmla="*/ 6867508 h 6867508"/>
              <a:gd name="connsiteX7" fmla="*/ 6255 w 9150235"/>
              <a:gd name="connsiteY7"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8926409 w 9150235"/>
              <a:gd name="connsiteY3" fmla="*/ 6191250 h 6867508"/>
              <a:gd name="connsiteX4" fmla="*/ 8907359 w 9150235"/>
              <a:gd name="connsiteY4" fmla="*/ 6653213 h 6867508"/>
              <a:gd name="connsiteX5" fmla="*/ 7111896 w 9150235"/>
              <a:gd name="connsiteY5" fmla="*/ 6662737 h 6867508"/>
              <a:gd name="connsiteX6" fmla="*/ 7108615 w 9150235"/>
              <a:gd name="connsiteY6" fmla="*/ 6857983 h 6867508"/>
              <a:gd name="connsiteX7" fmla="*/ 0 w 9150235"/>
              <a:gd name="connsiteY7" fmla="*/ 6867508 h 6867508"/>
              <a:gd name="connsiteX8" fmla="*/ 6255 w 9150235"/>
              <a:gd name="connsiteY8"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8907359 w 9150235"/>
              <a:gd name="connsiteY3" fmla="*/ 6858000 h 6867508"/>
              <a:gd name="connsiteX4" fmla="*/ 8907359 w 9150235"/>
              <a:gd name="connsiteY4" fmla="*/ 6653213 h 6867508"/>
              <a:gd name="connsiteX5" fmla="*/ 7111896 w 9150235"/>
              <a:gd name="connsiteY5" fmla="*/ 6662737 h 6867508"/>
              <a:gd name="connsiteX6" fmla="*/ 7108615 w 9150235"/>
              <a:gd name="connsiteY6" fmla="*/ 6857983 h 6867508"/>
              <a:gd name="connsiteX7" fmla="*/ 0 w 9150235"/>
              <a:gd name="connsiteY7" fmla="*/ 6867508 h 6867508"/>
              <a:gd name="connsiteX8" fmla="*/ 6255 w 9150235"/>
              <a:gd name="connsiteY8" fmla="*/ 141 h 6867508"/>
              <a:gd name="connsiteX0" fmla="*/ 6255 w 9150235"/>
              <a:gd name="connsiteY0" fmla="*/ 141 h 6867508"/>
              <a:gd name="connsiteX1" fmla="*/ 4578245 w 9150235"/>
              <a:gd name="connsiteY1" fmla="*/ 0 h 6867508"/>
              <a:gd name="connsiteX2" fmla="*/ 9150235 w 9150235"/>
              <a:gd name="connsiteY2" fmla="*/ 2619516 h 6867508"/>
              <a:gd name="connsiteX3" fmla="*/ 8997846 w 9150235"/>
              <a:gd name="connsiteY3" fmla="*/ 5334000 h 6867508"/>
              <a:gd name="connsiteX4" fmla="*/ 8907359 w 9150235"/>
              <a:gd name="connsiteY4" fmla="*/ 6858000 h 6867508"/>
              <a:gd name="connsiteX5" fmla="*/ 8907359 w 9150235"/>
              <a:gd name="connsiteY5" fmla="*/ 6653213 h 6867508"/>
              <a:gd name="connsiteX6" fmla="*/ 7111896 w 9150235"/>
              <a:gd name="connsiteY6" fmla="*/ 6662737 h 6867508"/>
              <a:gd name="connsiteX7" fmla="*/ 7108615 w 9150235"/>
              <a:gd name="connsiteY7" fmla="*/ 6857983 h 6867508"/>
              <a:gd name="connsiteX8" fmla="*/ 0 w 9150235"/>
              <a:gd name="connsiteY8" fmla="*/ 6867508 h 6867508"/>
              <a:gd name="connsiteX9" fmla="*/ 6255 w 9150235"/>
              <a:gd name="connsiteY9" fmla="*/ 141 h 6867508"/>
              <a:gd name="connsiteX0" fmla="*/ 6255 w 9150246"/>
              <a:gd name="connsiteY0" fmla="*/ 141 h 6867508"/>
              <a:gd name="connsiteX1" fmla="*/ 4578245 w 9150246"/>
              <a:gd name="connsiteY1" fmla="*/ 0 h 6867508"/>
              <a:gd name="connsiteX2" fmla="*/ 9150235 w 9150246"/>
              <a:gd name="connsiteY2" fmla="*/ 2619516 h 6867508"/>
              <a:gd name="connsiteX3" fmla="*/ 9150246 w 9150246"/>
              <a:gd name="connsiteY3" fmla="*/ 6862762 h 6867508"/>
              <a:gd name="connsiteX4" fmla="*/ 8907359 w 9150246"/>
              <a:gd name="connsiteY4" fmla="*/ 6858000 h 6867508"/>
              <a:gd name="connsiteX5" fmla="*/ 8907359 w 9150246"/>
              <a:gd name="connsiteY5" fmla="*/ 6653213 h 6867508"/>
              <a:gd name="connsiteX6" fmla="*/ 7111896 w 9150246"/>
              <a:gd name="connsiteY6" fmla="*/ 6662737 h 6867508"/>
              <a:gd name="connsiteX7" fmla="*/ 7108615 w 9150246"/>
              <a:gd name="connsiteY7" fmla="*/ 6857983 h 6867508"/>
              <a:gd name="connsiteX8" fmla="*/ 0 w 9150246"/>
              <a:gd name="connsiteY8" fmla="*/ 6867508 h 6867508"/>
              <a:gd name="connsiteX9" fmla="*/ 6255 w 9150246"/>
              <a:gd name="connsiteY9" fmla="*/ 141 h 6867508"/>
              <a:gd name="connsiteX0" fmla="*/ 6255 w 9150246"/>
              <a:gd name="connsiteY0" fmla="*/ 141 h 6867508"/>
              <a:gd name="connsiteX1" fmla="*/ 4578245 w 9150246"/>
              <a:gd name="connsiteY1" fmla="*/ 0 h 6867508"/>
              <a:gd name="connsiteX2" fmla="*/ 9150235 w 9150246"/>
              <a:gd name="connsiteY2" fmla="*/ 1057416 h 6867508"/>
              <a:gd name="connsiteX3" fmla="*/ 9150246 w 9150246"/>
              <a:gd name="connsiteY3" fmla="*/ 6862762 h 6867508"/>
              <a:gd name="connsiteX4" fmla="*/ 8907359 w 9150246"/>
              <a:gd name="connsiteY4" fmla="*/ 6858000 h 6867508"/>
              <a:gd name="connsiteX5" fmla="*/ 8907359 w 9150246"/>
              <a:gd name="connsiteY5" fmla="*/ 6653213 h 6867508"/>
              <a:gd name="connsiteX6" fmla="*/ 7111896 w 9150246"/>
              <a:gd name="connsiteY6" fmla="*/ 6662737 h 6867508"/>
              <a:gd name="connsiteX7" fmla="*/ 7108615 w 9150246"/>
              <a:gd name="connsiteY7" fmla="*/ 6857983 h 6867508"/>
              <a:gd name="connsiteX8" fmla="*/ 0 w 9150246"/>
              <a:gd name="connsiteY8" fmla="*/ 6867508 h 6867508"/>
              <a:gd name="connsiteX9" fmla="*/ 6255 w 9150246"/>
              <a:gd name="connsiteY9" fmla="*/ 141 h 6867508"/>
              <a:gd name="connsiteX0" fmla="*/ 6255 w 9150246"/>
              <a:gd name="connsiteY0" fmla="*/ 141 h 6867508"/>
              <a:gd name="connsiteX1" fmla="*/ 4578245 w 9150246"/>
              <a:gd name="connsiteY1" fmla="*/ 0 h 6867508"/>
              <a:gd name="connsiteX2" fmla="*/ 9150235 w 9150246"/>
              <a:gd name="connsiteY2" fmla="*/ 141 h 6867508"/>
              <a:gd name="connsiteX3" fmla="*/ 9150246 w 9150246"/>
              <a:gd name="connsiteY3" fmla="*/ 6862762 h 6867508"/>
              <a:gd name="connsiteX4" fmla="*/ 8907359 w 9150246"/>
              <a:gd name="connsiteY4" fmla="*/ 6858000 h 6867508"/>
              <a:gd name="connsiteX5" fmla="*/ 8907359 w 9150246"/>
              <a:gd name="connsiteY5" fmla="*/ 6653213 h 6867508"/>
              <a:gd name="connsiteX6" fmla="*/ 7111896 w 9150246"/>
              <a:gd name="connsiteY6" fmla="*/ 6662737 h 6867508"/>
              <a:gd name="connsiteX7" fmla="*/ 7108615 w 9150246"/>
              <a:gd name="connsiteY7" fmla="*/ 6857983 h 6867508"/>
              <a:gd name="connsiteX8" fmla="*/ 0 w 9150246"/>
              <a:gd name="connsiteY8" fmla="*/ 6867508 h 6867508"/>
              <a:gd name="connsiteX9" fmla="*/ 6255 w 9150246"/>
              <a:gd name="connsiteY9" fmla="*/ 141 h 6867508"/>
              <a:gd name="connsiteX0" fmla="*/ 6255 w 9150246"/>
              <a:gd name="connsiteY0" fmla="*/ 141 h 6867508"/>
              <a:gd name="connsiteX1" fmla="*/ 4578245 w 9150246"/>
              <a:gd name="connsiteY1" fmla="*/ 0 h 6867508"/>
              <a:gd name="connsiteX2" fmla="*/ 8993083 w 9150246"/>
              <a:gd name="connsiteY2" fmla="*/ 0 h 6867508"/>
              <a:gd name="connsiteX3" fmla="*/ 9150235 w 9150246"/>
              <a:gd name="connsiteY3" fmla="*/ 141 h 6867508"/>
              <a:gd name="connsiteX4" fmla="*/ 9150246 w 9150246"/>
              <a:gd name="connsiteY4" fmla="*/ 6862762 h 6867508"/>
              <a:gd name="connsiteX5" fmla="*/ 8907359 w 9150246"/>
              <a:gd name="connsiteY5" fmla="*/ 6858000 h 6867508"/>
              <a:gd name="connsiteX6" fmla="*/ 8907359 w 9150246"/>
              <a:gd name="connsiteY6" fmla="*/ 6653213 h 6867508"/>
              <a:gd name="connsiteX7" fmla="*/ 7111896 w 9150246"/>
              <a:gd name="connsiteY7" fmla="*/ 6662737 h 6867508"/>
              <a:gd name="connsiteX8" fmla="*/ 7108615 w 9150246"/>
              <a:gd name="connsiteY8" fmla="*/ 6857983 h 6867508"/>
              <a:gd name="connsiteX9" fmla="*/ 0 w 9150246"/>
              <a:gd name="connsiteY9" fmla="*/ 6867508 h 6867508"/>
              <a:gd name="connsiteX10" fmla="*/ 6255 w 9150246"/>
              <a:gd name="connsiteY10" fmla="*/ 141 h 6867508"/>
              <a:gd name="connsiteX0" fmla="*/ 6255 w 9150246"/>
              <a:gd name="connsiteY0" fmla="*/ 141 h 6867508"/>
              <a:gd name="connsiteX1" fmla="*/ 4578245 w 9150246"/>
              <a:gd name="connsiteY1" fmla="*/ 0 h 6867508"/>
              <a:gd name="connsiteX2" fmla="*/ 9026420 w 9150246"/>
              <a:gd name="connsiteY2" fmla="*/ 0 h 6867508"/>
              <a:gd name="connsiteX3" fmla="*/ 9150235 w 9150246"/>
              <a:gd name="connsiteY3" fmla="*/ 141 h 6867508"/>
              <a:gd name="connsiteX4" fmla="*/ 9150246 w 9150246"/>
              <a:gd name="connsiteY4" fmla="*/ 6862762 h 6867508"/>
              <a:gd name="connsiteX5" fmla="*/ 8907359 w 9150246"/>
              <a:gd name="connsiteY5" fmla="*/ 6858000 h 6867508"/>
              <a:gd name="connsiteX6" fmla="*/ 8907359 w 9150246"/>
              <a:gd name="connsiteY6" fmla="*/ 6653213 h 6867508"/>
              <a:gd name="connsiteX7" fmla="*/ 7111896 w 9150246"/>
              <a:gd name="connsiteY7" fmla="*/ 6662737 h 6867508"/>
              <a:gd name="connsiteX8" fmla="*/ 7108615 w 9150246"/>
              <a:gd name="connsiteY8" fmla="*/ 6857983 h 6867508"/>
              <a:gd name="connsiteX9" fmla="*/ 0 w 9150246"/>
              <a:gd name="connsiteY9" fmla="*/ 6867508 h 6867508"/>
              <a:gd name="connsiteX10" fmla="*/ 6255 w 9150246"/>
              <a:gd name="connsiteY10" fmla="*/ 141 h 6867508"/>
              <a:gd name="connsiteX0" fmla="*/ 6255 w 9150246"/>
              <a:gd name="connsiteY0" fmla="*/ 141 h 6867508"/>
              <a:gd name="connsiteX1" fmla="*/ 4578245 w 9150246"/>
              <a:gd name="connsiteY1" fmla="*/ 0 h 6867508"/>
              <a:gd name="connsiteX2" fmla="*/ 9035945 w 9150246"/>
              <a:gd name="connsiteY2" fmla="*/ 0 h 6867508"/>
              <a:gd name="connsiteX3" fmla="*/ 9150235 w 9150246"/>
              <a:gd name="connsiteY3" fmla="*/ 141 h 6867508"/>
              <a:gd name="connsiteX4" fmla="*/ 9150246 w 9150246"/>
              <a:gd name="connsiteY4" fmla="*/ 6862762 h 6867508"/>
              <a:gd name="connsiteX5" fmla="*/ 8907359 w 9150246"/>
              <a:gd name="connsiteY5" fmla="*/ 6858000 h 6867508"/>
              <a:gd name="connsiteX6" fmla="*/ 8907359 w 9150246"/>
              <a:gd name="connsiteY6" fmla="*/ 6653213 h 6867508"/>
              <a:gd name="connsiteX7" fmla="*/ 7111896 w 9150246"/>
              <a:gd name="connsiteY7" fmla="*/ 6662737 h 6867508"/>
              <a:gd name="connsiteX8" fmla="*/ 7108615 w 9150246"/>
              <a:gd name="connsiteY8" fmla="*/ 6857983 h 6867508"/>
              <a:gd name="connsiteX9" fmla="*/ 0 w 9150246"/>
              <a:gd name="connsiteY9" fmla="*/ 6867508 h 6867508"/>
              <a:gd name="connsiteX10" fmla="*/ 6255 w 9150246"/>
              <a:gd name="connsiteY10" fmla="*/ 141 h 6867508"/>
              <a:gd name="connsiteX0" fmla="*/ 6255 w 9150246"/>
              <a:gd name="connsiteY0" fmla="*/ 141 h 6867508"/>
              <a:gd name="connsiteX1" fmla="*/ 4578245 w 9150246"/>
              <a:gd name="connsiteY1" fmla="*/ 0 h 6867508"/>
              <a:gd name="connsiteX2" fmla="*/ 9045470 w 9150246"/>
              <a:gd name="connsiteY2" fmla="*/ 0 h 6867508"/>
              <a:gd name="connsiteX3" fmla="*/ 9150235 w 9150246"/>
              <a:gd name="connsiteY3" fmla="*/ 141 h 6867508"/>
              <a:gd name="connsiteX4" fmla="*/ 9150246 w 9150246"/>
              <a:gd name="connsiteY4" fmla="*/ 6862762 h 6867508"/>
              <a:gd name="connsiteX5" fmla="*/ 8907359 w 9150246"/>
              <a:gd name="connsiteY5" fmla="*/ 6858000 h 6867508"/>
              <a:gd name="connsiteX6" fmla="*/ 8907359 w 9150246"/>
              <a:gd name="connsiteY6" fmla="*/ 6653213 h 6867508"/>
              <a:gd name="connsiteX7" fmla="*/ 7111896 w 9150246"/>
              <a:gd name="connsiteY7" fmla="*/ 6662737 h 6867508"/>
              <a:gd name="connsiteX8" fmla="*/ 7108615 w 9150246"/>
              <a:gd name="connsiteY8" fmla="*/ 6857983 h 6867508"/>
              <a:gd name="connsiteX9" fmla="*/ 0 w 9150246"/>
              <a:gd name="connsiteY9" fmla="*/ 6867508 h 6867508"/>
              <a:gd name="connsiteX10" fmla="*/ 6255 w 9150246"/>
              <a:gd name="connsiteY10" fmla="*/ 141 h 6867508"/>
              <a:gd name="connsiteX0" fmla="*/ 6255 w 9150246"/>
              <a:gd name="connsiteY0" fmla="*/ 2522 h 6869889"/>
              <a:gd name="connsiteX1" fmla="*/ 4578245 w 9150246"/>
              <a:gd name="connsiteY1" fmla="*/ 2381 h 6869889"/>
              <a:gd name="connsiteX2" fmla="*/ 8969270 w 9150246"/>
              <a:gd name="connsiteY2" fmla="*/ 0 h 6869889"/>
              <a:gd name="connsiteX3" fmla="*/ 9045470 w 9150246"/>
              <a:gd name="connsiteY3" fmla="*/ 2381 h 6869889"/>
              <a:gd name="connsiteX4" fmla="*/ 9150235 w 9150246"/>
              <a:gd name="connsiteY4" fmla="*/ 2522 h 6869889"/>
              <a:gd name="connsiteX5" fmla="*/ 9150246 w 9150246"/>
              <a:gd name="connsiteY5" fmla="*/ 6865143 h 6869889"/>
              <a:gd name="connsiteX6" fmla="*/ 8907359 w 9150246"/>
              <a:gd name="connsiteY6" fmla="*/ 6860381 h 6869889"/>
              <a:gd name="connsiteX7" fmla="*/ 8907359 w 9150246"/>
              <a:gd name="connsiteY7" fmla="*/ 6655594 h 6869889"/>
              <a:gd name="connsiteX8" fmla="*/ 7111896 w 9150246"/>
              <a:gd name="connsiteY8" fmla="*/ 6665118 h 6869889"/>
              <a:gd name="connsiteX9" fmla="*/ 7108615 w 9150246"/>
              <a:gd name="connsiteY9" fmla="*/ 6860364 h 6869889"/>
              <a:gd name="connsiteX10" fmla="*/ 0 w 9150246"/>
              <a:gd name="connsiteY10" fmla="*/ 6869889 h 6869889"/>
              <a:gd name="connsiteX11" fmla="*/ 6255 w 9150246"/>
              <a:gd name="connsiteY11" fmla="*/ 2522 h 6869889"/>
              <a:gd name="connsiteX0" fmla="*/ 6255 w 9150246"/>
              <a:gd name="connsiteY0" fmla="*/ 141 h 6867508"/>
              <a:gd name="connsiteX1" fmla="*/ 4578245 w 9150246"/>
              <a:gd name="connsiteY1" fmla="*/ 0 h 6867508"/>
              <a:gd name="connsiteX2" fmla="*/ 9047851 w 9150246"/>
              <a:gd name="connsiteY2" fmla="*/ 1054894 h 6867508"/>
              <a:gd name="connsiteX3" fmla="*/ 9045470 w 9150246"/>
              <a:gd name="connsiteY3" fmla="*/ 0 h 6867508"/>
              <a:gd name="connsiteX4" fmla="*/ 9150235 w 9150246"/>
              <a:gd name="connsiteY4" fmla="*/ 141 h 6867508"/>
              <a:gd name="connsiteX5" fmla="*/ 9150246 w 9150246"/>
              <a:gd name="connsiteY5" fmla="*/ 6862762 h 6867508"/>
              <a:gd name="connsiteX6" fmla="*/ 8907359 w 9150246"/>
              <a:gd name="connsiteY6" fmla="*/ 6858000 h 6867508"/>
              <a:gd name="connsiteX7" fmla="*/ 8907359 w 9150246"/>
              <a:gd name="connsiteY7" fmla="*/ 6653213 h 6867508"/>
              <a:gd name="connsiteX8" fmla="*/ 7111896 w 9150246"/>
              <a:gd name="connsiteY8" fmla="*/ 6662737 h 6867508"/>
              <a:gd name="connsiteX9" fmla="*/ 7108615 w 9150246"/>
              <a:gd name="connsiteY9" fmla="*/ 6857983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7851 w 9150246"/>
              <a:gd name="connsiteY2" fmla="*/ 1054894 h 6867508"/>
              <a:gd name="connsiteX3" fmla="*/ 9045470 w 9150246"/>
              <a:gd name="connsiteY3" fmla="*/ 2381 h 6867508"/>
              <a:gd name="connsiteX4" fmla="*/ 9150235 w 9150246"/>
              <a:gd name="connsiteY4" fmla="*/ 141 h 6867508"/>
              <a:gd name="connsiteX5" fmla="*/ 9150246 w 9150246"/>
              <a:gd name="connsiteY5" fmla="*/ 6862762 h 6867508"/>
              <a:gd name="connsiteX6" fmla="*/ 8907359 w 9150246"/>
              <a:gd name="connsiteY6" fmla="*/ 6858000 h 6867508"/>
              <a:gd name="connsiteX7" fmla="*/ 8907359 w 9150246"/>
              <a:gd name="connsiteY7" fmla="*/ 6653213 h 6867508"/>
              <a:gd name="connsiteX8" fmla="*/ 7111896 w 9150246"/>
              <a:gd name="connsiteY8" fmla="*/ 6662737 h 6867508"/>
              <a:gd name="connsiteX9" fmla="*/ 7108615 w 9150246"/>
              <a:gd name="connsiteY9" fmla="*/ 6857983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7497658 w 9150246"/>
              <a:gd name="connsiteY2" fmla="*/ 690563 h 6867508"/>
              <a:gd name="connsiteX3" fmla="*/ 9047851 w 9150246"/>
              <a:gd name="connsiteY3" fmla="*/ 1054894 h 6867508"/>
              <a:gd name="connsiteX4" fmla="*/ 9045470 w 9150246"/>
              <a:gd name="connsiteY4" fmla="*/ 2381 h 6867508"/>
              <a:gd name="connsiteX5" fmla="*/ 9150235 w 9150246"/>
              <a:gd name="connsiteY5" fmla="*/ 141 h 6867508"/>
              <a:gd name="connsiteX6" fmla="*/ 9150246 w 9150246"/>
              <a:gd name="connsiteY6" fmla="*/ 6862762 h 6867508"/>
              <a:gd name="connsiteX7" fmla="*/ 8907359 w 9150246"/>
              <a:gd name="connsiteY7" fmla="*/ 6858000 h 6867508"/>
              <a:gd name="connsiteX8" fmla="*/ 8907359 w 9150246"/>
              <a:gd name="connsiteY8" fmla="*/ 6653213 h 6867508"/>
              <a:gd name="connsiteX9" fmla="*/ 7111896 w 9150246"/>
              <a:gd name="connsiteY9" fmla="*/ 6662737 h 6867508"/>
              <a:gd name="connsiteX10" fmla="*/ 7108615 w 9150246"/>
              <a:gd name="connsiteY10" fmla="*/ 6857983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6947589 w 9150246"/>
              <a:gd name="connsiteY2" fmla="*/ 1057276 h 6867508"/>
              <a:gd name="connsiteX3" fmla="*/ 9047851 w 9150246"/>
              <a:gd name="connsiteY3" fmla="*/ 1054894 h 6867508"/>
              <a:gd name="connsiteX4" fmla="*/ 9045470 w 9150246"/>
              <a:gd name="connsiteY4" fmla="*/ 2381 h 6867508"/>
              <a:gd name="connsiteX5" fmla="*/ 9150235 w 9150246"/>
              <a:gd name="connsiteY5" fmla="*/ 141 h 6867508"/>
              <a:gd name="connsiteX6" fmla="*/ 9150246 w 9150246"/>
              <a:gd name="connsiteY6" fmla="*/ 6862762 h 6867508"/>
              <a:gd name="connsiteX7" fmla="*/ 8907359 w 9150246"/>
              <a:gd name="connsiteY7" fmla="*/ 6858000 h 6867508"/>
              <a:gd name="connsiteX8" fmla="*/ 8907359 w 9150246"/>
              <a:gd name="connsiteY8" fmla="*/ 6653213 h 6867508"/>
              <a:gd name="connsiteX9" fmla="*/ 7111896 w 9150246"/>
              <a:gd name="connsiteY9" fmla="*/ 6662737 h 6867508"/>
              <a:gd name="connsiteX10" fmla="*/ 7108615 w 9150246"/>
              <a:gd name="connsiteY10" fmla="*/ 6857983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6542776 w 9150246"/>
              <a:gd name="connsiteY2" fmla="*/ 871538 h 6867508"/>
              <a:gd name="connsiteX3" fmla="*/ 6947589 w 9150246"/>
              <a:gd name="connsiteY3" fmla="*/ 1057276 h 6867508"/>
              <a:gd name="connsiteX4" fmla="*/ 9047851 w 9150246"/>
              <a:gd name="connsiteY4" fmla="*/ 1054894 h 6867508"/>
              <a:gd name="connsiteX5" fmla="*/ 9045470 w 9150246"/>
              <a:gd name="connsiteY5" fmla="*/ 2381 h 6867508"/>
              <a:gd name="connsiteX6" fmla="*/ 9150235 w 9150246"/>
              <a:gd name="connsiteY6" fmla="*/ 141 h 6867508"/>
              <a:gd name="connsiteX7" fmla="*/ 9150246 w 9150246"/>
              <a:gd name="connsiteY7" fmla="*/ 6862762 h 6867508"/>
              <a:gd name="connsiteX8" fmla="*/ 8907359 w 9150246"/>
              <a:gd name="connsiteY8" fmla="*/ 6858000 h 6867508"/>
              <a:gd name="connsiteX9" fmla="*/ 8907359 w 9150246"/>
              <a:gd name="connsiteY9" fmla="*/ 6653213 h 6867508"/>
              <a:gd name="connsiteX10" fmla="*/ 7111896 w 9150246"/>
              <a:gd name="connsiteY10" fmla="*/ 6662737 h 6867508"/>
              <a:gd name="connsiteX11" fmla="*/ 7108615 w 9150246"/>
              <a:gd name="connsiteY11" fmla="*/ 6857983 h 6867508"/>
              <a:gd name="connsiteX12" fmla="*/ 0 w 9150246"/>
              <a:gd name="connsiteY12" fmla="*/ 6867508 h 6867508"/>
              <a:gd name="connsiteX13" fmla="*/ 6255 w 9150246"/>
              <a:gd name="connsiteY13" fmla="*/ 141 h 6867508"/>
              <a:gd name="connsiteX0" fmla="*/ 6255 w 9150246"/>
              <a:gd name="connsiteY0" fmla="*/ 141 h 6867508"/>
              <a:gd name="connsiteX1" fmla="*/ 4578245 w 9150246"/>
              <a:gd name="connsiteY1" fmla="*/ 0 h 6867508"/>
              <a:gd name="connsiteX2" fmla="*/ 6949970 w 9150246"/>
              <a:gd name="connsiteY2" fmla="*/ 104775 h 6867508"/>
              <a:gd name="connsiteX3" fmla="*/ 6947589 w 9150246"/>
              <a:gd name="connsiteY3" fmla="*/ 1057276 h 6867508"/>
              <a:gd name="connsiteX4" fmla="*/ 9047851 w 9150246"/>
              <a:gd name="connsiteY4" fmla="*/ 1054894 h 6867508"/>
              <a:gd name="connsiteX5" fmla="*/ 9045470 w 9150246"/>
              <a:gd name="connsiteY5" fmla="*/ 2381 h 6867508"/>
              <a:gd name="connsiteX6" fmla="*/ 9150235 w 9150246"/>
              <a:gd name="connsiteY6" fmla="*/ 141 h 6867508"/>
              <a:gd name="connsiteX7" fmla="*/ 9150246 w 9150246"/>
              <a:gd name="connsiteY7" fmla="*/ 6862762 h 6867508"/>
              <a:gd name="connsiteX8" fmla="*/ 8907359 w 9150246"/>
              <a:gd name="connsiteY8" fmla="*/ 6858000 h 6867508"/>
              <a:gd name="connsiteX9" fmla="*/ 8907359 w 9150246"/>
              <a:gd name="connsiteY9" fmla="*/ 6653213 h 6867508"/>
              <a:gd name="connsiteX10" fmla="*/ 7111896 w 9150246"/>
              <a:gd name="connsiteY10" fmla="*/ 6662737 h 6867508"/>
              <a:gd name="connsiteX11" fmla="*/ 7108615 w 9150246"/>
              <a:gd name="connsiteY11" fmla="*/ 6857983 h 6867508"/>
              <a:gd name="connsiteX12" fmla="*/ 0 w 9150246"/>
              <a:gd name="connsiteY12" fmla="*/ 6867508 h 6867508"/>
              <a:gd name="connsiteX13" fmla="*/ 6255 w 9150246"/>
              <a:gd name="connsiteY13" fmla="*/ 141 h 6867508"/>
              <a:gd name="connsiteX0" fmla="*/ 6255 w 9150246"/>
              <a:gd name="connsiteY0" fmla="*/ 141 h 6867508"/>
              <a:gd name="connsiteX1" fmla="*/ 4578245 w 9150246"/>
              <a:gd name="connsiteY1" fmla="*/ 0 h 6867508"/>
              <a:gd name="connsiteX2" fmla="*/ 6754708 w 9150246"/>
              <a:gd name="connsiteY2" fmla="*/ 92869 h 6867508"/>
              <a:gd name="connsiteX3" fmla="*/ 6949970 w 9150246"/>
              <a:gd name="connsiteY3" fmla="*/ 104775 h 6867508"/>
              <a:gd name="connsiteX4" fmla="*/ 6947589 w 9150246"/>
              <a:gd name="connsiteY4" fmla="*/ 1057276 h 6867508"/>
              <a:gd name="connsiteX5" fmla="*/ 9047851 w 9150246"/>
              <a:gd name="connsiteY5" fmla="*/ 1054894 h 6867508"/>
              <a:gd name="connsiteX6" fmla="*/ 9045470 w 9150246"/>
              <a:gd name="connsiteY6" fmla="*/ 2381 h 6867508"/>
              <a:gd name="connsiteX7" fmla="*/ 9150235 w 9150246"/>
              <a:gd name="connsiteY7" fmla="*/ 141 h 6867508"/>
              <a:gd name="connsiteX8" fmla="*/ 9150246 w 9150246"/>
              <a:gd name="connsiteY8" fmla="*/ 6862762 h 6867508"/>
              <a:gd name="connsiteX9" fmla="*/ 8907359 w 9150246"/>
              <a:gd name="connsiteY9" fmla="*/ 6858000 h 6867508"/>
              <a:gd name="connsiteX10" fmla="*/ 8907359 w 9150246"/>
              <a:gd name="connsiteY10" fmla="*/ 6653213 h 6867508"/>
              <a:gd name="connsiteX11" fmla="*/ 7111896 w 9150246"/>
              <a:gd name="connsiteY11" fmla="*/ 6662737 h 6867508"/>
              <a:gd name="connsiteX12" fmla="*/ 7108615 w 9150246"/>
              <a:gd name="connsiteY12" fmla="*/ 6857983 h 6867508"/>
              <a:gd name="connsiteX13" fmla="*/ 0 w 9150246"/>
              <a:gd name="connsiteY13" fmla="*/ 6867508 h 6867508"/>
              <a:gd name="connsiteX14" fmla="*/ 6255 w 9150246"/>
              <a:gd name="connsiteY14" fmla="*/ 141 h 6867508"/>
              <a:gd name="connsiteX0" fmla="*/ 6255 w 9150246"/>
              <a:gd name="connsiteY0" fmla="*/ 141 h 6867508"/>
              <a:gd name="connsiteX1" fmla="*/ 4578245 w 9150246"/>
              <a:gd name="connsiteY1" fmla="*/ 0 h 6867508"/>
              <a:gd name="connsiteX2" fmla="*/ 9047852 w 9150246"/>
              <a:gd name="connsiteY2" fmla="*/ 111919 h 6867508"/>
              <a:gd name="connsiteX3" fmla="*/ 6949970 w 9150246"/>
              <a:gd name="connsiteY3" fmla="*/ 104775 h 6867508"/>
              <a:gd name="connsiteX4" fmla="*/ 6947589 w 9150246"/>
              <a:gd name="connsiteY4" fmla="*/ 1057276 h 6867508"/>
              <a:gd name="connsiteX5" fmla="*/ 9047851 w 9150246"/>
              <a:gd name="connsiteY5" fmla="*/ 1054894 h 6867508"/>
              <a:gd name="connsiteX6" fmla="*/ 9045470 w 9150246"/>
              <a:gd name="connsiteY6" fmla="*/ 2381 h 6867508"/>
              <a:gd name="connsiteX7" fmla="*/ 9150235 w 9150246"/>
              <a:gd name="connsiteY7" fmla="*/ 141 h 6867508"/>
              <a:gd name="connsiteX8" fmla="*/ 9150246 w 9150246"/>
              <a:gd name="connsiteY8" fmla="*/ 6862762 h 6867508"/>
              <a:gd name="connsiteX9" fmla="*/ 8907359 w 9150246"/>
              <a:gd name="connsiteY9" fmla="*/ 6858000 h 6867508"/>
              <a:gd name="connsiteX10" fmla="*/ 8907359 w 9150246"/>
              <a:gd name="connsiteY10" fmla="*/ 6653213 h 6867508"/>
              <a:gd name="connsiteX11" fmla="*/ 7111896 w 9150246"/>
              <a:gd name="connsiteY11" fmla="*/ 6662737 h 6867508"/>
              <a:gd name="connsiteX12" fmla="*/ 7108615 w 9150246"/>
              <a:gd name="connsiteY12" fmla="*/ 6857983 h 6867508"/>
              <a:gd name="connsiteX13" fmla="*/ 0 w 9150246"/>
              <a:gd name="connsiteY13" fmla="*/ 6867508 h 6867508"/>
              <a:gd name="connsiteX14" fmla="*/ 6255 w 9150246"/>
              <a:gd name="connsiteY14" fmla="*/ 141 h 6867508"/>
              <a:gd name="connsiteX0" fmla="*/ 6255 w 9150246"/>
              <a:gd name="connsiteY0" fmla="*/ 141 h 6867508"/>
              <a:gd name="connsiteX1" fmla="*/ 4578245 w 9150246"/>
              <a:gd name="connsiteY1" fmla="*/ 0 h 6867508"/>
              <a:gd name="connsiteX2" fmla="*/ 7857226 w 9150246"/>
              <a:gd name="connsiteY2" fmla="*/ 78581 h 6867508"/>
              <a:gd name="connsiteX3" fmla="*/ 9047852 w 9150246"/>
              <a:gd name="connsiteY3" fmla="*/ 111919 h 6867508"/>
              <a:gd name="connsiteX4" fmla="*/ 6949970 w 9150246"/>
              <a:gd name="connsiteY4" fmla="*/ 104775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8907359 w 9150246"/>
              <a:gd name="connsiteY10" fmla="*/ 6858000 h 6867508"/>
              <a:gd name="connsiteX11" fmla="*/ 8907359 w 9150246"/>
              <a:gd name="connsiteY11" fmla="*/ 6653213 h 6867508"/>
              <a:gd name="connsiteX12" fmla="*/ 7111896 w 9150246"/>
              <a:gd name="connsiteY12" fmla="*/ 6662737 h 6867508"/>
              <a:gd name="connsiteX13" fmla="*/ 7108615 w 9150246"/>
              <a:gd name="connsiteY13" fmla="*/ 6857983 h 6867508"/>
              <a:gd name="connsiteX14" fmla="*/ 0 w 9150246"/>
              <a:gd name="connsiteY14" fmla="*/ 6867508 h 6867508"/>
              <a:gd name="connsiteX15" fmla="*/ 6255 w 9150246"/>
              <a:gd name="connsiteY15"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9970 w 9150246"/>
              <a:gd name="connsiteY4" fmla="*/ 104775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8907359 w 9150246"/>
              <a:gd name="connsiteY10" fmla="*/ 6858000 h 6867508"/>
              <a:gd name="connsiteX11" fmla="*/ 8907359 w 9150246"/>
              <a:gd name="connsiteY11" fmla="*/ 6653213 h 6867508"/>
              <a:gd name="connsiteX12" fmla="*/ 7111896 w 9150246"/>
              <a:gd name="connsiteY12" fmla="*/ 6662737 h 6867508"/>
              <a:gd name="connsiteX13" fmla="*/ 7108615 w 9150246"/>
              <a:gd name="connsiteY13" fmla="*/ 6857983 h 6867508"/>
              <a:gd name="connsiteX14" fmla="*/ 0 w 9150246"/>
              <a:gd name="connsiteY14" fmla="*/ 6867508 h 6867508"/>
              <a:gd name="connsiteX15" fmla="*/ 6255 w 9150246"/>
              <a:gd name="connsiteY15"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5207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8907359 w 9150246"/>
              <a:gd name="connsiteY10" fmla="*/ 6858000 h 6867508"/>
              <a:gd name="connsiteX11" fmla="*/ 8907359 w 9150246"/>
              <a:gd name="connsiteY11" fmla="*/ 6653213 h 6867508"/>
              <a:gd name="connsiteX12" fmla="*/ 7111896 w 9150246"/>
              <a:gd name="connsiteY12" fmla="*/ 6662737 h 6867508"/>
              <a:gd name="connsiteX13" fmla="*/ 7108615 w 9150246"/>
              <a:gd name="connsiteY13" fmla="*/ 6857983 h 6867508"/>
              <a:gd name="connsiteX14" fmla="*/ 0 w 9150246"/>
              <a:gd name="connsiteY14" fmla="*/ 6867508 h 6867508"/>
              <a:gd name="connsiteX15" fmla="*/ 6255 w 9150246"/>
              <a:gd name="connsiteY15"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5207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8907359 w 9150246"/>
              <a:gd name="connsiteY10" fmla="*/ 6858000 h 6867508"/>
              <a:gd name="connsiteX11" fmla="*/ 8907359 w 9150246"/>
              <a:gd name="connsiteY11" fmla="*/ 6653213 h 6867508"/>
              <a:gd name="connsiteX12" fmla="*/ 7108615 w 9150246"/>
              <a:gd name="connsiteY12" fmla="*/ 6857983 h 6867508"/>
              <a:gd name="connsiteX13" fmla="*/ 0 w 9150246"/>
              <a:gd name="connsiteY13" fmla="*/ 6867508 h 6867508"/>
              <a:gd name="connsiteX14" fmla="*/ 6255 w 9150246"/>
              <a:gd name="connsiteY14"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5207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8907359 w 9150246"/>
              <a:gd name="connsiteY10" fmla="*/ 6858000 h 6867508"/>
              <a:gd name="connsiteX11" fmla="*/ 7108615 w 9150246"/>
              <a:gd name="connsiteY11" fmla="*/ 6857983 h 6867508"/>
              <a:gd name="connsiteX12" fmla="*/ 0 w 9150246"/>
              <a:gd name="connsiteY12" fmla="*/ 6867508 h 6867508"/>
              <a:gd name="connsiteX13" fmla="*/ 6255 w 9150246"/>
              <a:gd name="connsiteY13"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5207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7108615 w 9150246"/>
              <a:gd name="connsiteY10" fmla="*/ 6857983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5207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47852 w 9150246"/>
              <a:gd name="connsiteY3" fmla="*/ 111919 h 6867508"/>
              <a:gd name="connsiteX4" fmla="*/ 6949969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04989 w 9150246"/>
              <a:gd name="connsiteY3" fmla="*/ 100013 h 6867508"/>
              <a:gd name="connsiteX4" fmla="*/ 6949969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50232 w 9150246"/>
              <a:gd name="connsiteY3" fmla="*/ 109538 h 6867508"/>
              <a:gd name="connsiteX4" fmla="*/ 6949969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8926407 w 9150246"/>
              <a:gd name="connsiteY3" fmla="*/ 64294 h 6867508"/>
              <a:gd name="connsiteX4" fmla="*/ 6949969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50232 w 9150246"/>
              <a:gd name="connsiteY3" fmla="*/ 109537 h 6867508"/>
              <a:gd name="connsiteX4" fmla="*/ 6949969 w 9150246"/>
              <a:gd name="connsiteY4" fmla="*/ 109537 h 6867508"/>
              <a:gd name="connsiteX5" fmla="*/ 6947589 w 9150246"/>
              <a:gd name="connsiteY5" fmla="*/ 1057276 h 6867508"/>
              <a:gd name="connsiteX6" fmla="*/ 9047851 w 9150246"/>
              <a:gd name="connsiteY6" fmla="*/ 1054894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50232 w 9150246"/>
              <a:gd name="connsiteY3" fmla="*/ 109537 h 6867508"/>
              <a:gd name="connsiteX4" fmla="*/ 6949969 w 9150246"/>
              <a:gd name="connsiteY4" fmla="*/ 109537 h 6867508"/>
              <a:gd name="connsiteX5" fmla="*/ 6947589 w 9150246"/>
              <a:gd name="connsiteY5" fmla="*/ 1057276 h 6867508"/>
              <a:gd name="connsiteX6" fmla="*/ 9071664 w 9150246"/>
              <a:gd name="connsiteY6" fmla="*/ 1097756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50232 w 9150246"/>
              <a:gd name="connsiteY3" fmla="*/ 109537 h 6867508"/>
              <a:gd name="connsiteX4" fmla="*/ 6949969 w 9150246"/>
              <a:gd name="connsiteY4" fmla="*/ 109537 h 6867508"/>
              <a:gd name="connsiteX5" fmla="*/ 6947589 w 9150246"/>
              <a:gd name="connsiteY5" fmla="*/ 1057276 h 6867508"/>
              <a:gd name="connsiteX6" fmla="*/ 9050233 w 9150246"/>
              <a:gd name="connsiteY6" fmla="*/ 1057275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50232 w 9150246"/>
              <a:gd name="connsiteY3" fmla="*/ 109537 h 6867508"/>
              <a:gd name="connsiteX4" fmla="*/ 6949969 w 9150246"/>
              <a:gd name="connsiteY4" fmla="*/ 109537 h 6867508"/>
              <a:gd name="connsiteX5" fmla="*/ 6916632 w 9150246"/>
              <a:gd name="connsiteY5" fmla="*/ 1078707 h 6867508"/>
              <a:gd name="connsiteX6" fmla="*/ 9050233 w 9150246"/>
              <a:gd name="connsiteY6" fmla="*/ 1057275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150246"/>
              <a:gd name="connsiteY0" fmla="*/ 141 h 6867508"/>
              <a:gd name="connsiteX1" fmla="*/ 4578245 w 9150246"/>
              <a:gd name="connsiteY1" fmla="*/ 0 h 6867508"/>
              <a:gd name="connsiteX2" fmla="*/ 9045470 w 9150246"/>
              <a:gd name="connsiteY2" fmla="*/ 2381 h 6867508"/>
              <a:gd name="connsiteX3" fmla="*/ 9050232 w 9150246"/>
              <a:gd name="connsiteY3" fmla="*/ 109537 h 6867508"/>
              <a:gd name="connsiteX4" fmla="*/ 6949969 w 9150246"/>
              <a:gd name="connsiteY4" fmla="*/ 109537 h 6867508"/>
              <a:gd name="connsiteX5" fmla="*/ 6916632 w 9150246"/>
              <a:gd name="connsiteY5" fmla="*/ 1078707 h 6867508"/>
              <a:gd name="connsiteX6" fmla="*/ 9050233 w 9150246"/>
              <a:gd name="connsiteY6" fmla="*/ 1057275 h 6867508"/>
              <a:gd name="connsiteX7" fmla="*/ 9045470 w 9150246"/>
              <a:gd name="connsiteY7" fmla="*/ 2381 h 6867508"/>
              <a:gd name="connsiteX8" fmla="*/ 9150235 w 9150246"/>
              <a:gd name="connsiteY8" fmla="*/ 141 h 6867508"/>
              <a:gd name="connsiteX9" fmla="*/ 9150246 w 9150246"/>
              <a:gd name="connsiteY9" fmla="*/ 6862762 h 6867508"/>
              <a:gd name="connsiteX10" fmla="*/ 0 w 9150246"/>
              <a:gd name="connsiteY10" fmla="*/ 6867508 h 6867508"/>
              <a:gd name="connsiteX11" fmla="*/ 6255 w 9150246"/>
              <a:gd name="connsiteY11" fmla="*/ 141 h 6867508"/>
              <a:gd name="connsiteX0" fmla="*/ 6255 w 9204580"/>
              <a:gd name="connsiteY0" fmla="*/ 141 h 6867508"/>
              <a:gd name="connsiteX1" fmla="*/ 4578245 w 9204580"/>
              <a:gd name="connsiteY1" fmla="*/ 0 h 6867508"/>
              <a:gd name="connsiteX2" fmla="*/ 9045470 w 9204580"/>
              <a:gd name="connsiteY2" fmla="*/ 2381 h 6867508"/>
              <a:gd name="connsiteX3" fmla="*/ 9050232 w 9204580"/>
              <a:gd name="connsiteY3" fmla="*/ 109537 h 6867508"/>
              <a:gd name="connsiteX4" fmla="*/ 6949969 w 9204580"/>
              <a:gd name="connsiteY4" fmla="*/ 109537 h 6867508"/>
              <a:gd name="connsiteX5" fmla="*/ 6947588 w 9204580"/>
              <a:gd name="connsiteY5" fmla="*/ 1059657 h 6867508"/>
              <a:gd name="connsiteX6" fmla="*/ 9050233 w 9204580"/>
              <a:gd name="connsiteY6" fmla="*/ 1057275 h 6867508"/>
              <a:gd name="connsiteX7" fmla="*/ 9045470 w 9204580"/>
              <a:gd name="connsiteY7" fmla="*/ 2381 h 6867508"/>
              <a:gd name="connsiteX8" fmla="*/ 9150235 w 9204580"/>
              <a:gd name="connsiteY8" fmla="*/ 141 h 6867508"/>
              <a:gd name="connsiteX9" fmla="*/ 9150246 w 9204580"/>
              <a:gd name="connsiteY9" fmla="*/ 6862762 h 6867508"/>
              <a:gd name="connsiteX10" fmla="*/ 0 w 9204580"/>
              <a:gd name="connsiteY10" fmla="*/ 6867508 h 6867508"/>
              <a:gd name="connsiteX11" fmla="*/ 6255 w 9204580"/>
              <a:gd name="connsiteY11" fmla="*/ 141 h 6867508"/>
              <a:gd name="connsiteX0" fmla="*/ 6255 w 9206344"/>
              <a:gd name="connsiteY0" fmla="*/ 141 h 6867508"/>
              <a:gd name="connsiteX1" fmla="*/ 4578245 w 9206344"/>
              <a:gd name="connsiteY1" fmla="*/ 0 h 6867508"/>
              <a:gd name="connsiteX2" fmla="*/ 9045470 w 9206344"/>
              <a:gd name="connsiteY2" fmla="*/ 2381 h 6867508"/>
              <a:gd name="connsiteX3" fmla="*/ 9050232 w 9206344"/>
              <a:gd name="connsiteY3" fmla="*/ 109537 h 6867508"/>
              <a:gd name="connsiteX4" fmla="*/ 6949969 w 9206344"/>
              <a:gd name="connsiteY4" fmla="*/ 109537 h 6867508"/>
              <a:gd name="connsiteX5" fmla="*/ 6923775 w 9206344"/>
              <a:gd name="connsiteY5" fmla="*/ 1095375 h 6867508"/>
              <a:gd name="connsiteX6" fmla="*/ 9050233 w 9206344"/>
              <a:gd name="connsiteY6" fmla="*/ 1057275 h 6867508"/>
              <a:gd name="connsiteX7" fmla="*/ 9045470 w 9206344"/>
              <a:gd name="connsiteY7" fmla="*/ 2381 h 6867508"/>
              <a:gd name="connsiteX8" fmla="*/ 9150235 w 9206344"/>
              <a:gd name="connsiteY8" fmla="*/ 141 h 6867508"/>
              <a:gd name="connsiteX9" fmla="*/ 9150246 w 9206344"/>
              <a:gd name="connsiteY9" fmla="*/ 6862762 h 6867508"/>
              <a:gd name="connsiteX10" fmla="*/ 0 w 9206344"/>
              <a:gd name="connsiteY10" fmla="*/ 6867508 h 6867508"/>
              <a:gd name="connsiteX11" fmla="*/ 6255 w 9206344"/>
              <a:gd name="connsiteY11" fmla="*/ 141 h 6867508"/>
              <a:gd name="connsiteX0" fmla="*/ 6255 w 9204404"/>
              <a:gd name="connsiteY0" fmla="*/ 141 h 6867508"/>
              <a:gd name="connsiteX1" fmla="*/ 4578245 w 9204404"/>
              <a:gd name="connsiteY1" fmla="*/ 0 h 6867508"/>
              <a:gd name="connsiteX2" fmla="*/ 9045470 w 9204404"/>
              <a:gd name="connsiteY2" fmla="*/ 2381 h 6867508"/>
              <a:gd name="connsiteX3" fmla="*/ 9050232 w 9204404"/>
              <a:gd name="connsiteY3" fmla="*/ 109537 h 6867508"/>
              <a:gd name="connsiteX4" fmla="*/ 6949969 w 9204404"/>
              <a:gd name="connsiteY4" fmla="*/ 109537 h 6867508"/>
              <a:gd name="connsiteX5" fmla="*/ 6949969 w 9204404"/>
              <a:gd name="connsiteY5" fmla="*/ 1057275 h 6867508"/>
              <a:gd name="connsiteX6" fmla="*/ 9050233 w 9204404"/>
              <a:gd name="connsiteY6" fmla="*/ 1057275 h 6867508"/>
              <a:gd name="connsiteX7" fmla="*/ 9045470 w 9204404"/>
              <a:gd name="connsiteY7" fmla="*/ 2381 h 6867508"/>
              <a:gd name="connsiteX8" fmla="*/ 9150235 w 9204404"/>
              <a:gd name="connsiteY8" fmla="*/ 141 h 6867508"/>
              <a:gd name="connsiteX9" fmla="*/ 9150246 w 9204404"/>
              <a:gd name="connsiteY9" fmla="*/ 6862762 h 6867508"/>
              <a:gd name="connsiteX10" fmla="*/ 0 w 9204404"/>
              <a:gd name="connsiteY10" fmla="*/ 6867508 h 6867508"/>
              <a:gd name="connsiteX11" fmla="*/ 6255 w 9204404"/>
              <a:gd name="connsiteY11" fmla="*/ 141 h 6867508"/>
              <a:gd name="connsiteX0" fmla="*/ 6255 w 9204404"/>
              <a:gd name="connsiteY0" fmla="*/ 141 h 6867508"/>
              <a:gd name="connsiteX1" fmla="*/ 4578245 w 9204404"/>
              <a:gd name="connsiteY1" fmla="*/ 0 h 6867508"/>
              <a:gd name="connsiteX2" fmla="*/ 9045470 w 9204404"/>
              <a:gd name="connsiteY2" fmla="*/ 2381 h 6867508"/>
              <a:gd name="connsiteX3" fmla="*/ 9050232 w 9204404"/>
              <a:gd name="connsiteY3" fmla="*/ 109537 h 6867508"/>
              <a:gd name="connsiteX4" fmla="*/ 6949969 w 9204404"/>
              <a:gd name="connsiteY4" fmla="*/ 109537 h 6867508"/>
              <a:gd name="connsiteX5" fmla="*/ 6949969 w 9204404"/>
              <a:gd name="connsiteY5" fmla="*/ 1057275 h 6867508"/>
              <a:gd name="connsiteX6" fmla="*/ 9050233 w 9204404"/>
              <a:gd name="connsiteY6" fmla="*/ 1057275 h 6867508"/>
              <a:gd name="connsiteX7" fmla="*/ 9045470 w 9204404"/>
              <a:gd name="connsiteY7" fmla="*/ 2381 h 6867508"/>
              <a:gd name="connsiteX8" fmla="*/ 9150235 w 9204404"/>
              <a:gd name="connsiteY8" fmla="*/ 141 h 6867508"/>
              <a:gd name="connsiteX9" fmla="*/ 9150246 w 9204404"/>
              <a:gd name="connsiteY9" fmla="*/ 6862762 h 6867508"/>
              <a:gd name="connsiteX10" fmla="*/ 0 w 9204404"/>
              <a:gd name="connsiteY10" fmla="*/ 6867508 h 6867508"/>
              <a:gd name="connsiteX11" fmla="*/ 6255 w 9204404"/>
              <a:gd name="connsiteY11" fmla="*/ 141 h 6867508"/>
              <a:gd name="connsiteX0" fmla="*/ 6255 w 9204404"/>
              <a:gd name="connsiteY0" fmla="*/ 141 h 6867508"/>
              <a:gd name="connsiteX1" fmla="*/ 4578245 w 9204404"/>
              <a:gd name="connsiteY1" fmla="*/ 0 h 6867508"/>
              <a:gd name="connsiteX2" fmla="*/ 9045470 w 9204404"/>
              <a:gd name="connsiteY2" fmla="*/ 2381 h 6867508"/>
              <a:gd name="connsiteX3" fmla="*/ 9050232 w 9204404"/>
              <a:gd name="connsiteY3" fmla="*/ 109537 h 6867508"/>
              <a:gd name="connsiteX4" fmla="*/ 6949969 w 9204404"/>
              <a:gd name="connsiteY4" fmla="*/ 109537 h 6867508"/>
              <a:gd name="connsiteX5" fmla="*/ 6949969 w 9204404"/>
              <a:gd name="connsiteY5" fmla="*/ 1057275 h 6867508"/>
              <a:gd name="connsiteX6" fmla="*/ 9050233 w 9204404"/>
              <a:gd name="connsiteY6" fmla="*/ 1057275 h 6867508"/>
              <a:gd name="connsiteX7" fmla="*/ 9045470 w 9204404"/>
              <a:gd name="connsiteY7" fmla="*/ 2381 h 6867508"/>
              <a:gd name="connsiteX8" fmla="*/ 9150235 w 9204404"/>
              <a:gd name="connsiteY8" fmla="*/ 141 h 6867508"/>
              <a:gd name="connsiteX9" fmla="*/ 9150246 w 9204404"/>
              <a:gd name="connsiteY9" fmla="*/ 6862762 h 6867508"/>
              <a:gd name="connsiteX10" fmla="*/ 0 w 9204404"/>
              <a:gd name="connsiteY10" fmla="*/ 6867508 h 6867508"/>
              <a:gd name="connsiteX11" fmla="*/ 6255 w 9204404"/>
              <a:gd name="connsiteY11" fmla="*/ 141 h 6867508"/>
              <a:gd name="connsiteX0" fmla="*/ 6255 w 9204404"/>
              <a:gd name="connsiteY0" fmla="*/ 141 h 6867508"/>
              <a:gd name="connsiteX1" fmla="*/ 4578245 w 9204404"/>
              <a:gd name="connsiteY1" fmla="*/ 0 h 6867508"/>
              <a:gd name="connsiteX2" fmla="*/ 9045470 w 9204404"/>
              <a:gd name="connsiteY2" fmla="*/ 2381 h 6867508"/>
              <a:gd name="connsiteX3" fmla="*/ 8995463 w 9204404"/>
              <a:gd name="connsiteY3" fmla="*/ 80962 h 6867508"/>
              <a:gd name="connsiteX4" fmla="*/ 6949969 w 9204404"/>
              <a:gd name="connsiteY4" fmla="*/ 109537 h 6867508"/>
              <a:gd name="connsiteX5" fmla="*/ 6949969 w 9204404"/>
              <a:gd name="connsiteY5" fmla="*/ 1057275 h 6867508"/>
              <a:gd name="connsiteX6" fmla="*/ 9050233 w 9204404"/>
              <a:gd name="connsiteY6" fmla="*/ 1057275 h 6867508"/>
              <a:gd name="connsiteX7" fmla="*/ 9045470 w 9204404"/>
              <a:gd name="connsiteY7" fmla="*/ 2381 h 6867508"/>
              <a:gd name="connsiteX8" fmla="*/ 9150235 w 9204404"/>
              <a:gd name="connsiteY8" fmla="*/ 141 h 6867508"/>
              <a:gd name="connsiteX9" fmla="*/ 9150246 w 9204404"/>
              <a:gd name="connsiteY9" fmla="*/ 6862762 h 6867508"/>
              <a:gd name="connsiteX10" fmla="*/ 0 w 9204404"/>
              <a:gd name="connsiteY10" fmla="*/ 6867508 h 6867508"/>
              <a:gd name="connsiteX11" fmla="*/ 6255 w 9204404"/>
              <a:gd name="connsiteY11" fmla="*/ 141 h 6867508"/>
              <a:gd name="connsiteX0" fmla="*/ 6255 w 9205631"/>
              <a:gd name="connsiteY0" fmla="*/ 142 h 6867509"/>
              <a:gd name="connsiteX1" fmla="*/ 4578245 w 9205631"/>
              <a:gd name="connsiteY1" fmla="*/ 1 h 6867509"/>
              <a:gd name="connsiteX2" fmla="*/ 9045470 w 9205631"/>
              <a:gd name="connsiteY2" fmla="*/ 2382 h 6867509"/>
              <a:gd name="connsiteX3" fmla="*/ 8995463 w 9205631"/>
              <a:gd name="connsiteY3" fmla="*/ 80963 h 6867509"/>
              <a:gd name="connsiteX4" fmla="*/ 6949969 w 9205631"/>
              <a:gd name="connsiteY4" fmla="*/ 109538 h 6867509"/>
              <a:gd name="connsiteX5" fmla="*/ 6949969 w 9205631"/>
              <a:gd name="connsiteY5" fmla="*/ 1057276 h 6867509"/>
              <a:gd name="connsiteX6" fmla="*/ 9050233 w 9205631"/>
              <a:gd name="connsiteY6" fmla="*/ 1057276 h 6867509"/>
              <a:gd name="connsiteX7" fmla="*/ 9050232 w 9205631"/>
              <a:gd name="connsiteY7" fmla="*/ 0 h 6867509"/>
              <a:gd name="connsiteX8" fmla="*/ 9150235 w 9205631"/>
              <a:gd name="connsiteY8" fmla="*/ 142 h 6867509"/>
              <a:gd name="connsiteX9" fmla="*/ 9150246 w 9205631"/>
              <a:gd name="connsiteY9" fmla="*/ 6862763 h 6867509"/>
              <a:gd name="connsiteX10" fmla="*/ 0 w 9205631"/>
              <a:gd name="connsiteY10" fmla="*/ 6867509 h 6867509"/>
              <a:gd name="connsiteX11" fmla="*/ 6255 w 9205631"/>
              <a:gd name="connsiteY11" fmla="*/ 142 h 6867509"/>
              <a:gd name="connsiteX0" fmla="*/ 6255 w 9211483"/>
              <a:gd name="connsiteY0" fmla="*/ 142 h 6867509"/>
              <a:gd name="connsiteX1" fmla="*/ 4578245 w 9211483"/>
              <a:gd name="connsiteY1" fmla="*/ 1 h 6867509"/>
              <a:gd name="connsiteX2" fmla="*/ 9045470 w 9211483"/>
              <a:gd name="connsiteY2" fmla="*/ 2382 h 6867509"/>
              <a:gd name="connsiteX3" fmla="*/ 8995463 w 9211483"/>
              <a:gd name="connsiteY3" fmla="*/ 80963 h 6867509"/>
              <a:gd name="connsiteX4" fmla="*/ 6949969 w 9211483"/>
              <a:gd name="connsiteY4" fmla="*/ 109538 h 6867509"/>
              <a:gd name="connsiteX5" fmla="*/ 6949969 w 9211483"/>
              <a:gd name="connsiteY5" fmla="*/ 1057276 h 6867509"/>
              <a:gd name="connsiteX6" fmla="*/ 9050233 w 9211483"/>
              <a:gd name="connsiteY6" fmla="*/ 1057276 h 6867509"/>
              <a:gd name="connsiteX7" fmla="*/ 9066901 w 9211483"/>
              <a:gd name="connsiteY7" fmla="*/ 147640 h 6867509"/>
              <a:gd name="connsiteX8" fmla="*/ 9050232 w 9211483"/>
              <a:gd name="connsiteY8" fmla="*/ 0 h 6867509"/>
              <a:gd name="connsiteX9" fmla="*/ 9150235 w 9211483"/>
              <a:gd name="connsiteY9" fmla="*/ 142 h 6867509"/>
              <a:gd name="connsiteX10" fmla="*/ 9150246 w 9211483"/>
              <a:gd name="connsiteY10" fmla="*/ 6862763 h 6867509"/>
              <a:gd name="connsiteX11" fmla="*/ 0 w 9211483"/>
              <a:gd name="connsiteY11" fmla="*/ 6867509 h 6867509"/>
              <a:gd name="connsiteX12" fmla="*/ 6255 w 9211483"/>
              <a:gd name="connsiteY12" fmla="*/ 142 h 6867509"/>
              <a:gd name="connsiteX0" fmla="*/ 6255 w 9209558"/>
              <a:gd name="connsiteY0" fmla="*/ 142 h 6867509"/>
              <a:gd name="connsiteX1" fmla="*/ 4578245 w 9209558"/>
              <a:gd name="connsiteY1" fmla="*/ 1 h 6867509"/>
              <a:gd name="connsiteX2" fmla="*/ 9045470 w 9209558"/>
              <a:gd name="connsiteY2" fmla="*/ 2382 h 6867509"/>
              <a:gd name="connsiteX3" fmla="*/ 8995463 w 9209558"/>
              <a:gd name="connsiteY3" fmla="*/ 80963 h 6867509"/>
              <a:gd name="connsiteX4" fmla="*/ 6949969 w 9209558"/>
              <a:gd name="connsiteY4" fmla="*/ 109538 h 6867509"/>
              <a:gd name="connsiteX5" fmla="*/ 6949969 w 9209558"/>
              <a:gd name="connsiteY5" fmla="*/ 1057276 h 6867509"/>
              <a:gd name="connsiteX6" fmla="*/ 9050233 w 9209558"/>
              <a:gd name="connsiteY6" fmla="*/ 1057276 h 6867509"/>
              <a:gd name="connsiteX7" fmla="*/ 9066901 w 9209558"/>
              <a:gd name="connsiteY7" fmla="*/ 147640 h 6867509"/>
              <a:gd name="connsiteX8" fmla="*/ 9050232 w 9209558"/>
              <a:gd name="connsiteY8" fmla="*/ 0 h 6867509"/>
              <a:gd name="connsiteX9" fmla="*/ 9150235 w 9209558"/>
              <a:gd name="connsiteY9" fmla="*/ 142 h 6867509"/>
              <a:gd name="connsiteX10" fmla="*/ 9150246 w 9209558"/>
              <a:gd name="connsiteY10" fmla="*/ 6862763 h 6867509"/>
              <a:gd name="connsiteX11" fmla="*/ 0 w 9209558"/>
              <a:gd name="connsiteY11" fmla="*/ 6867509 h 6867509"/>
              <a:gd name="connsiteX12" fmla="*/ 6255 w 9209558"/>
              <a:gd name="connsiteY12" fmla="*/ 142 h 6867509"/>
              <a:gd name="connsiteX0" fmla="*/ 6255 w 9209558"/>
              <a:gd name="connsiteY0" fmla="*/ 142 h 6867509"/>
              <a:gd name="connsiteX1" fmla="*/ 4578245 w 9209558"/>
              <a:gd name="connsiteY1" fmla="*/ 1 h 6867509"/>
              <a:gd name="connsiteX2" fmla="*/ 9045470 w 9209558"/>
              <a:gd name="connsiteY2" fmla="*/ 2382 h 6867509"/>
              <a:gd name="connsiteX3" fmla="*/ 8995463 w 9209558"/>
              <a:gd name="connsiteY3" fmla="*/ 80963 h 6867509"/>
              <a:gd name="connsiteX4" fmla="*/ 6949969 w 9209558"/>
              <a:gd name="connsiteY4" fmla="*/ 109538 h 6867509"/>
              <a:gd name="connsiteX5" fmla="*/ 6949969 w 9209558"/>
              <a:gd name="connsiteY5" fmla="*/ 1057276 h 6867509"/>
              <a:gd name="connsiteX6" fmla="*/ 9050233 w 9209558"/>
              <a:gd name="connsiteY6" fmla="*/ 1057276 h 6867509"/>
              <a:gd name="connsiteX7" fmla="*/ 9066901 w 9209558"/>
              <a:gd name="connsiteY7" fmla="*/ 147640 h 6867509"/>
              <a:gd name="connsiteX8" fmla="*/ 9050232 w 9209558"/>
              <a:gd name="connsiteY8" fmla="*/ 0 h 6867509"/>
              <a:gd name="connsiteX9" fmla="*/ 9150235 w 9209558"/>
              <a:gd name="connsiteY9" fmla="*/ 142 h 6867509"/>
              <a:gd name="connsiteX10" fmla="*/ 9150246 w 9209558"/>
              <a:gd name="connsiteY10" fmla="*/ 6862763 h 6867509"/>
              <a:gd name="connsiteX11" fmla="*/ 0 w 9209558"/>
              <a:gd name="connsiteY11" fmla="*/ 6867509 h 6867509"/>
              <a:gd name="connsiteX12" fmla="*/ 6255 w 9209558"/>
              <a:gd name="connsiteY12" fmla="*/ 142 h 6867509"/>
              <a:gd name="connsiteX0" fmla="*/ 6255 w 9209558"/>
              <a:gd name="connsiteY0" fmla="*/ 142 h 6867509"/>
              <a:gd name="connsiteX1" fmla="*/ 4578245 w 9209558"/>
              <a:gd name="connsiteY1" fmla="*/ 1 h 6867509"/>
              <a:gd name="connsiteX2" fmla="*/ 9045470 w 9209558"/>
              <a:gd name="connsiteY2" fmla="*/ 2382 h 6867509"/>
              <a:gd name="connsiteX3" fmla="*/ 8995463 w 9209558"/>
              <a:gd name="connsiteY3" fmla="*/ 80963 h 6867509"/>
              <a:gd name="connsiteX4" fmla="*/ 6949969 w 9209558"/>
              <a:gd name="connsiteY4" fmla="*/ 109538 h 6867509"/>
              <a:gd name="connsiteX5" fmla="*/ 6949969 w 9209558"/>
              <a:gd name="connsiteY5" fmla="*/ 1057276 h 6867509"/>
              <a:gd name="connsiteX6" fmla="*/ 9050233 w 9209558"/>
              <a:gd name="connsiteY6" fmla="*/ 1057276 h 6867509"/>
              <a:gd name="connsiteX7" fmla="*/ 9066901 w 9209558"/>
              <a:gd name="connsiteY7" fmla="*/ 147640 h 6867509"/>
              <a:gd name="connsiteX8" fmla="*/ 9050232 w 9209558"/>
              <a:gd name="connsiteY8" fmla="*/ 0 h 6867509"/>
              <a:gd name="connsiteX9" fmla="*/ 9150235 w 9209558"/>
              <a:gd name="connsiteY9" fmla="*/ 142 h 6867509"/>
              <a:gd name="connsiteX10" fmla="*/ 9150246 w 9209558"/>
              <a:gd name="connsiteY10" fmla="*/ 6862763 h 6867509"/>
              <a:gd name="connsiteX11" fmla="*/ 0 w 9209558"/>
              <a:gd name="connsiteY11" fmla="*/ 6867509 h 6867509"/>
              <a:gd name="connsiteX12" fmla="*/ 6255 w 9209558"/>
              <a:gd name="connsiteY12" fmla="*/ 142 h 6867509"/>
              <a:gd name="connsiteX0" fmla="*/ 6255 w 9209558"/>
              <a:gd name="connsiteY0" fmla="*/ 142 h 6867509"/>
              <a:gd name="connsiteX1" fmla="*/ 4578245 w 9209558"/>
              <a:gd name="connsiteY1" fmla="*/ 1 h 6867509"/>
              <a:gd name="connsiteX2" fmla="*/ 9045470 w 9209558"/>
              <a:gd name="connsiteY2" fmla="*/ 2382 h 6867509"/>
              <a:gd name="connsiteX3" fmla="*/ 8995463 w 9209558"/>
              <a:gd name="connsiteY3" fmla="*/ 80963 h 6867509"/>
              <a:gd name="connsiteX4" fmla="*/ 6949969 w 9209558"/>
              <a:gd name="connsiteY4" fmla="*/ 109538 h 6867509"/>
              <a:gd name="connsiteX5" fmla="*/ 6949969 w 9209558"/>
              <a:gd name="connsiteY5" fmla="*/ 1057276 h 6867509"/>
              <a:gd name="connsiteX6" fmla="*/ 9050233 w 9209558"/>
              <a:gd name="connsiteY6" fmla="*/ 1057276 h 6867509"/>
              <a:gd name="connsiteX7" fmla="*/ 9066901 w 9209558"/>
              <a:gd name="connsiteY7" fmla="*/ 147640 h 6867509"/>
              <a:gd name="connsiteX8" fmla="*/ 9050232 w 9209558"/>
              <a:gd name="connsiteY8" fmla="*/ 0 h 6867509"/>
              <a:gd name="connsiteX9" fmla="*/ 9150235 w 9209558"/>
              <a:gd name="connsiteY9" fmla="*/ 142 h 6867509"/>
              <a:gd name="connsiteX10" fmla="*/ 9150246 w 9209558"/>
              <a:gd name="connsiteY10" fmla="*/ 6862763 h 6867509"/>
              <a:gd name="connsiteX11" fmla="*/ 0 w 9209558"/>
              <a:gd name="connsiteY11" fmla="*/ 6867509 h 6867509"/>
              <a:gd name="connsiteX12" fmla="*/ 6255 w 9209558"/>
              <a:gd name="connsiteY12" fmla="*/ 142 h 6867509"/>
              <a:gd name="connsiteX0" fmla="*/ 6255 w 9205207"/>
              <a:gd name="connsiteY0" fmla="*/ 142 h 6867509"/>
              <a:gd name="connsiteX1" fmla="*/ 4578245 w 9205207"/>
              <a:gd name="connsiteY1" fmla="*/ 1 h 6867509"/>
              <a:gd name="connsiteX2" fmla="*/ 9045470 w 9205207"/>
              <a:gd name="connsiteY2" fmla="*/ 2382 h 6867509"/>
              <a:gd name="connsiteX3" fmla="*/ 8995463 w 9205207"/>
              <a:gd name="connsiteY3" fmla="*/ 80963 h 6867509"/>
              <a:gd name="connsiteX4" fmla="*/ 6949969 w 9205207"/>
              <a:gd name="connsiteY4" fmla="*/ 109538 h 6867509"/>
              <a:gd name="connsiteX5" fmla="*/ 6949969 w 9205207"/>
              <a:gd name="connsiteY5" fmla="*/ 1057276 h 6867509"/>
              <a:gd name="connsiteX6" fmla="*/ 9050233 w 9205207"/>
              <a:gd name="connsiteY6" fmla="*/ 1057276 h 6867509"/>
              <a:gd name="connsiteX7" fmla="*/ 9050233 w 9205207"/>
              <a:gd name="connsiteY7" fmla="*/ 109540 h 6867509"/>
              <a:gd name="connsiteX8" fmla="*/ 9050232 w 9205207"/>
              <a:gd name="connsiteY8" fmla="*/ 0 h 6867509"/>
              <a:gd name="connsiteX9" fmla="*/ 9150235 w 9205207"/>
              <a:gd name="connsiteY9" fmla="*/ 142 h 6867509"/>
              <a:gd name="connsiteX10" fmla="*/ 9150246 w 9205207"/>
              <a:gd name="connsiteY10" fmla="*/ 6862763 h 6867509"/>
              <a:gd name="connsiteX11" fmla="*/ 0 w 9205207"/>
              <a:gd name="connsiteY11" fmla="*/ 6867509 h 6867509"/>
              <a:gd name="connsiteX12" fmla="*/ 6255 w 9205207"/>
              <a:gd name="connsiteY12" fmla="*/ 142 h 6867509"/>
              <a:gd name="connsiteX0" fmla="*/ 6255 w 9225698"/>
              <a:gd name="connsiteY0" fmla="*/ 142 h 6867509"/>
              <a:gd name="connsiteX1" fmla="*/ 4578245 w 9225698"/>
              <a:gd name="connsiteY1" fmla="*/ 1 h 6867509"/>
              <a:gd name="connsiteX2" fmla="*/ 9045470 w 9225698"/>
              <a:gd name="connsiteY2" fmla="*/ 2382 h 6867509"/>
              <a:gd name="connsiteX3" fmla="*/ 8995463 w 9225698"/>
              <a:gd name="connsiteY3" fmla="*/ 80963 h 6867509"/>
              <a:gd name="connsiteX4" fmla="*/ 6949969 w 9225698"/>
              <a:gd name="connsiteY4" fmla="*/ 109538 h 6867509"/>
              <a:gd name="connsiteX5" fmla="*/ 6949969 w 9225698"/>
              <a:gd name="connsiteY5" fmla="*/ 1057276 h 6867509"/>
              <a:gd name="connsiteX6" fmla="*/ 9050233 w 9225698"/>
              <a:gd name="connsiteY6" fmla="*/ 1057276 h 6867509"/>
              <a:gd name="connsiteX7" fmla="*/ 9050233 w 9225698"/>
              <a:gd name="connsiteY7" fmla="*/ 109540 h 6867509"/>
              <a:gd name="connsiteX8" fmla="*/ 9050232 w 9225698"/>
              <a:gd name="connsiteY8" fmla="*/ 0 h 6867509"/>
              <a:gd name="connsiteX9" fmla="*/ 9150235 w 9225698"/>
              <a:gd name="connsiteY9" fmla="*/ 142 h 6867509"/>
              <a:gd name="connsiteX10" fmla="*/ 9150246 w 9225698"/>
              <a:gd name="connsiteY10" fmla="*/ 6862763 h 6867509"/>
              <a:gd name="connsiteX11" fmla="*/ 0 w 9225698"/>
              <a:gd name="connsiteY11" fmla="*/ 6867509 h 6867509"/>
              <a:gd name="connsiteX12" fmla="*/ 6255 w 9225698"/>
              <a:gd name="connsiteY12" fmla="*/ 142 h 6867509"/>
              <a:gd name="connsiteX0" fmla="*/ 6255 w 9225698"/>
              <a:gd name="connsiteY0" fmla="*/ 141 h 6867508"/>
              <a:gd name="connsiteX1" fmla="*/ 4578245 w 9225698"/>
              <a:gd name="connsiteY1" fmla="*/ 0 h 6867508"/>
              <a:gd name="connsiteX2" fmla="*/ 9045470 w 9225698"/>
              <a:gd name="connsiteY2" fmla="*/ 2381 h 6867508"/>
              <a:gd name="connsiteX3" fmla="*/ 8995463 w 9225698"/>
              <a:gd name="connsiteY3" fmla="*/ 80962 h 6867508"/>
              <a:gd name="connsiteX4" fmla="*/ 6949969 w 9225698"/>
              <a:gd name="connsiteY4" fmla="*/ 109537 h 6867508"/>
              <a:gd name="connsiteX5" fmla="*/ 6949969 w 9225698"/>
              <a:gd name="connsiteY5" fmla="*/ 1057275 h 6867508"/>
              <a:gd name="connsiteX6" fmla="*/ 9050233 w 9225698"/>
              <a:gd name="connsiteY6" fmla="*/ 1057275 h 6867508"/>
              <a:gd name="connsiteX7" fmla="*/ 9050233 w 9225698"/>
              <a:gd name="connsiteY7" fmla="*/ 109539 h 6867508"/>
              <a:gd name="connsiteX8" fmla="*/ 9088332 w 9225698"/>
              <a:gd name="connsiteY8" fmla="*/ 2380 h 6867508"/>
              <a:gd name="connsiteX9" fmla="*/ 9150235 w 9225698"/>
              <a:gd name="connsiteY9" fmla="*/ 141 h 6867508"/>
              <a:gd name="connsiteX10" fmla="*/ 9150246 w 9225698"/>
              <a:gd name="connsiteY10" fmla="*/ 6862762 h 6867508"/>
              <a:gd name="connsiteX11" fmla="*/ 0 w 9225698"/>
              <a:gd name="connsiteY11" fmla="*/ 6867508 h 6867508"/>
              <a:gd name="connsiteX12" fmla="*/ 6255 w 9225698"/>
              <a:gd name="connsiteY12" fmla="*/ 141 h 6867508"/>
              <a:gd name="connsiteX0" fmla="*/ 6255 w 9225698"/>
              <a:gd name="connsiteY0" fmla="*/ 142 h 6867509"/>
              <a:gd name="connsiteX1" fmla="*/ 4578245 w 9225698"/>
              <a:gd name="connsiteY1" fmla="*/ 1 h 6867509"/>
              <a:gd name="connsiteX2" fmla="*/ 9045470 w 9225698"/>
              <a:gd name="connsiteY2" fmla="*/ 2382 h 6867509"/>
              <a:gd name="connsiteX3" fmla="*/ 8995463 w 9225698"/>
              <a:gd name="connsiteY3" fmla="*/ 80963 h 6867509"/>
              <a:gd name="connsiteX4" fmla="*/ 6949969 w 9225698"/>
              <a:gd name="connsiteY4" fmla="*/ 109538 h 6867509"/>
              <a:gd name="connsiteX5" fmla="*/ 6949969 w 9225698"/>
              <a:gd name="connsiteY5" fmla="*/ 1057276 h 6867509"/>
              <a:gd name="connsiteX6" fmla="*/ 9050233 w 9225698"/>
              <a:gd name="connsiteY6" fmla="*/ 1057276 h 6867509"/>
              <a:gd name="connsiteX7" fmla="*/ 9050233 w 9225698"/>
              <a:gd name="connsiteY7" fmla="*/ 109540 h 6867509"/>
              <a:gd name="connsiteX8" fmla="*/ 9052613 w 9225698"/>
              <a:gd name="connsiteY8" fmla="*/ 0 h 6867509"/>
              <a:gd name="connsiteX9" fmla="*/ 9150235 w 9225698"/>
              <a:gd name="connsiteY9" fmla="*/ 142 h 6867509"/>
              <a:gd name="connsiteX10" fmla="*/ 9150246 w 9225698"/>
              <a:gd name="connsiteY10" fmla="*/ 6862763 h 6867509"/>
              <a:gd name="connsiteX11" fmla="*/ 0 w 9225698"/>
              <a:gd name="connsiteY11" fmla="*/ 6867509 h 6867509"/>
              <a:gd name="connsiteX12" fmla="*/ 6255 w 9225698"/>
              <a:gd name="connsiteY12" fmla="*/ 142 h 6867509"/>
              <a:gd name="connsiteX0" fmla="*/ 6255 w 9225698"/>
              <a:gd name="connsiteY0" fmla="*/ 142 h 6867509"/>
              <a:gd name="connsiteX1" fmla="*/ 4578245 w 9225698"/>
              <a:gd name="connsiteY1" fmla="*/ 1 h 6867509"/>
              <a:gd name="connsiteX2" fmla="*/ 9045470 w 9225698"/>
              <a:gd name="connsiteY2" fmla="*/ 2382 h 6867509"/>
              <a:gd name="connsiteX3" fmla="*/ 8995463 w 9225698"/>
              <a:gd name="connsiteY3" fmla="*/ 80963 h 6867509"/>
              <a:gd name="connsiteX4" fmla="*/ 6949969 w 9225698"/>
              <a:gd name="connsiteY4" fmla="*/ 109538 h 6867509"/>
              <a:gd name="connsiteX5" fmla="*/ 6949969 w 9225698"/>
              <a:gd name="connsiteY5" fmla="*/ 1057276 h 6867509"/>
              <a:gd name="connsiteX6" fmla="*/ 9050233 w 9225698"/>
              <a:gd name="connsiteY6" fmla="*/ 1057276 h 6867509"/>
              <a:gd name="connsiteX7" fmla="*/ 9050233 w 9225698"/>
              <a:gd name="connsiteY7" fmla="*/ 109540 h 6867509"/>
              <a:gd name="connsiteX8" fmla="*/ 9052613 w 9225698"/>
              <a:gd name="connsiteY8" fmla="*/ 0 h 6867509"/>
              <a:gd name="connsiteX9" fmla="*/ 9150235 w 9225698"/>
              <a:gd name="connsiteY9" fmla="*/ 142 h 6867509"/>
              <a:gd name="connsiteX10" fmla="*/ 9150246 w 9225698"/>
              <a:gd name="connsiteY10" fmla="*/ 6862763 h 6867509"/>
              <a:gd name="connsiteX11" fmla="*/ 0 w 9225698"/>
              <a:gd name="connsiteY11" fmla="*/ 6867509 h 6867509"/>
              <a:gd name="connsiteX12" fmla="*/ 6255 w 9225698"/>
              <a:gd name="connsiteY12" fmla="*/ 142 h 6867509"/>
              <a:gd name="connsiteX0" fmla="*/ 6255 w 9225698"/>
              <a:gd name="connsiteY0" fmla="*/ 142 h 6867509"/>
              <a:gd name="connsiteX1" fmla="*/ 4578245 w 9225698"/>
              <a:gd name="connsiteY1" fmla="*/ 1 h 6867509"/>
              <a:gd name="connsiteX2" fmla="*/ 9045470 w 9225698"/>
              <a:gd name="connsiteY2" fmla="*/ 2382 h 6867509"/>
              <a:gd name="connsiteX3" fmla="*/ 8995463 w 9225698"/>
              <a:gd name="connsiteY3" fmla="*/ 80963 h 6867509"/>
              <a:gd name="connsiteX4" fmla="*/ 6949969 w 9225698"/>
              <a:gd name="connsiteY4" fmla="*/ 109538 h 6867509"/>
              <a:gd name="connsiteX5" fmla="*/ 6949969 w 9225698"/>
              <a:gd name="connsiteY5" fmla="*/ 1057276 h 6867509"/>
              <a:gd name="connsiteX6" fmla="*/ 9050233 w 9225698"/>
              <a:gd name="connsiteY6" fmla="*/ 1057276 h 6867509"/>
              <a:gd name="connsiteX7" fmla="*/ 9050233 w 9225698"/>
              <a:gd name="connsiteY7" fmla="*/ 109540 h 6867509"/>
              <a:gd name="connsiteX8" fmla="*/ 9050232 w 9225698"/>
              <a:gd name="connsiteY8" fmla="*/ 0 h 6867509"/>
              <a:gd name="connsiteX9" fmla="*/ 9150235 w 9225698"/>
              <a:gd name="connsiteY9" fmla="*/ 142 h 6867509"/>
              <a:gd name="connsiteX10" fmla="*/ 9150246 w 9225698"/>
              <a:gd name="connsiteY10" fmla="*/ 6862763 h 6867509"/>
              <a:gd name="connsiteX11" fmla="*/ 0 w 9225698"/>
              <a:gd name="connsiteY11" fmla="*/ 6867509 h 6867509"/>
              <a:gd name="connsiteX12" fmla="*/ 6255 w 9225698"/>
              <a:gd name="connsiteY12" fmla="*/ 142 h 6867509"/>
              <a:gd name="connsiteX0" fmla="*/ 6255 w 9225698"/>
              <a:gd name="connsiteY0" fmla="*/ 142 h 6867509"/>
              <a:gd name="connsiteX1" fmla="*/ 4578245 w 9225698"/>
              <a:gd name="connsiteY1" fmla="*/ 1 h 6867509"/>
              <a:gd name="connsiteX2" fmla="*/ 9045470 w 9225698"/>
              <a:gd name="connsiteY2" fmla="*/ 2382 h 6867509"/>
              <a:gd name="connsiteX3" fmla="*/ 8995463 w 9225698"/>
              <a:gd name="connsiteY3" fmla="*/ 80963 h 6867509"/>
              <a:gd name="connsiteX4" fmla="*/ 6949969 w 9225698"/>
              <a:gd name="connsiteY4" fmla="*/ 109538 h 6867509"/>
              <a:gd name="connsiteX5" fmla="*/ 6949969 w 9225698"/>
              <a:gd name="connsiteY5" fmla="*/ 1057276 h 6867509"/>
              <a:gd name="connsiteX6" fmla="*/ 9050233 w 9225698"/>
              <a:gd name="connsiteY6" fmla="*/ 1057276 h 6867509"/>
              <a:gd name="connsiteX7" fmla="*/ 9050233 w 9225698"/>
              <a:gd name="connsiteY7" fmla="*/ 111922 h 6867509"/>
              <a:gd name="connsiteX8" fmla="*/ 9050232 w 9225698"/>
              <a:gd name="connsiteY8" fmla="*/ 0 h 6867509"/>
              <a:gd name="connsiteX9" fmla="*/ 9150235 w 9225698"/>
              <a:gd name="connsiteY9" fmla="*/ 142 h 6867509"/>
              <a:gd name="connsiteX10" fmla="*/ 9150246 w 9225698"/>
              <a:gd name="connsiteY10" fmla="*/ 6862763 h 6867509"/>
              <a:gd name="connsiteX11" fmla="*/ 0 w 9225698"/>
              <a:gd name="connsiteY11" fmla="*/ 6867509 h 6867509"/>
              <a:gd name="connsiteX12" fmla="*/ 6255 w 9225698"/>
              <a:gd name="connsiteY12" fmla="*/ 142 h 6867509"/>
              <a:gd name="connsiteX0" fmla="*/ 6255 w 9206778"/>
              <a:gd name="connsiteY0" fmla="*/ 142 h 6867509"/>
              <a:gd name="connsiteX1" fmla="*/ 4578245 w 9206778"/>
              <a:gd name="connsiteY1" fmla="*/ 1 h 6867509"/>
              <a:gd name="connsiteX2" fmla="*/ 9045470 w 9206778"/>
              <a:gd name="connsiteY2" fmla="*/ 2382 h 6867509"/>
              <a:gd name="connsiteX3" fmla="*/ 8995463 w 9206778"/>
              <a:gd name="connsiteY3" fmla="*/ 80963 h 6867509"/>
              <a:gd name="connsiteX4" fmla="*/ 6949969 w 9206778"/>
              <a:gd name="connsiteY4" fmla="*/ 109538 h 6867509"/>
              <a:gd name="connsiteX5" fmla="*/ 6949969 w 9206778"/>
              <a:gd name="connsiteY5" fmla="*/ 1057276 h 6867509"/>
              <a:gd name="connsiteX6" fmla="*/ 9050233 w 9206778"/>
              <a:gd name="connsiteY6" fmla="*/ 1057276 h 6867509"/>
              <a:gd name="connsiteX7" fmla="*/ 9050233 w 9206778"/>
              <a:gd name="connsiteY7" fmla="*/ 111922 h 6867509"/>
              <a:gd name="connsiteX8" fmla="*/ 9050232 w 9206778"/>
              <a:gd name="connsiteY8" fmla="*/ 0 h 6867509"/>
              <a:gd name="connsiteX9" fmla="*/ 9150235 w 9206778"/>
              <a:gd name="connsiteY9" fmla="*/ 142 h 6867509"/>
              <a:gd name="connsiteX10" fmla="*/ 9150246 w 9206778"/>
              <a:gd name="connsiteY10" fmla="*/ 6862763 h 6867509"/>
              <a:gd name="connsiteX11" fmla="*/ 0 w 9206778"/>
              <a:gd name="connsiteY11" fmla="*/ 6867509 h 6867509"/>
              <a:gd name="connsiteX12" fmla="*/ 6255 w 9206778"/>
              <a:gd name="connsiteY12" fmla="*/ 142 h 6867509"/>
              <a:gd name="connsiteX0" fmla="*/ 6255 w 9150246"/>
              <a:gd name="connsiteY0" fmla="*/ 142 h 6867509"/>
              <a:gd name="connsiteX1" fmla="*/ 4578245 w 9150246"/>
              <a:gd name="connsiteY1" fmla="*/ 1 h 6867509"/>
              <a:gd name="connsiteX2" fmla="*/ 9045470 w 9150246"/>
              <a:gd name="connsiteY2" fmla="*/ 2382 h 6867509"/>
              <a:gd name="connsiteX3" fmla="*/ 8995463 w 9150246"/>
              <a:gd name="connsiteY3" fmla="*/ 80963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50232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2 h 6867509"/>
              <a:gd name="connsiteX1" fmla="*/ 4578245 w 9150246"/>
              <a:gd name="connsiteY1" fmla="*/ 1 h 6867509"/>
              <a:gd name="connsiteX2" fmla="*/ 9045470 w 9150246"/>
              <a:gd name="connsiteY2" fmla="*/ 2382 h 6867509"/>
              <a:gd name="connsiteX3" fmla="*/ 8995463 w 9150246"/>
              <a:gd name="connsiteY3" fmla="*/ 80963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50232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2 h 6867509"/>
              <a:gd name="connsiteX1" fmla="*/ 4578245 w 9150246"/>
              <a:gd name="connsiteY1" fmla="*/ 1 h 6867509"/>
              <a:gd name="connsiteX2" fmla="*/ 9045470 w 9150246"/>
              <a:gd name="connsiteY2" fmla="*/ 2382 h 6867509"/>
              <a:gd name="connsiteX3" fmla="*/ 9004988 w 9150246"/>
              <a:gd name="connsiteY3" fmla="*/ 83345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50232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2 h 6867509"/>
              <a:gd name="connsiteX1" fmla="*/ 4578245 w 9150246"/>
              <a:gd name="connsiteY1" fmla="*/ 1 h 6867509"/>
              <a:gd name="connsiteX2" fmla="*/ 8981176 w 9150246"/>
              <a:gd name="connsiteY2" fmla="*/ 2383 h 6867509"/>
              <a:gd name="connsiteX3" fmla="*/ 9045470 w 9150246"/>
              <a:gd name="connsiteY3" fmla="*/ 2382 h 6867509"/>
              <a:gd name="connsiteX4" fmla="*/ 9004988 w 9150246"/>
              <a:gd name="connsiteY4" fmla="*/ 83345 h 6867509"/>
              <a:gd name="connsiteX5" fmla="*/ 6949969 w 9150246"/>
              <a:gd name="connsiteY5" fmla="*/ 109538 h 6867509"/>
              <a:gd name="connsiteX6" fmla="*/ 6949969 w 9150246"/>
              <a:gd name="connsiteY6" fmla="*/ 1057276 h 6867509"/>
              <a:gd name="connsiteX7" fmla="*/ 9050233 w 9150246"/>
              <a:gd name="connsiteY7" fmla="*/ 1057276 h 6867509"/>
              <a:gd name="connsiteX8" fmla="*/ 9050233 w 9150246"/>
              <a:gd name="connsiteY8" fmla="*/ 111922 h 6867509"/>
              <a:gd name="connsiteX9" fmla="*/ 9050232 w 9150246"/>
              <a:gd name="connsiteY9" fmla="*/ 0 h 6867509"/>
              <a:gd name="connsiteX10" fmla="*/ 9150235 w 9150246"/>
              <a:gd name="connsiteY10" fmla="*/ 142 h 6867509"/>
              <a:gd name="connsiteX11" fmla="*/ 9150246 w 9150246"/>
              <a:gd name="connsiteY11" fmla="*/ 6862763 h 6867509"/>
              <a:gd name="connsiteX12" fmla="*/ 0 w 9150246"/>
              <a:gd name="connsiteY12" fmla="*/ 6867509 h 6867509"/>
              <a:gd name="connsiteX13" fmla="*/ 6255 w 9150246"/>
              <a:gd name="connsiteY13" fmla="*/ 142 h 6867509"/>
              <a:gd name="connsiteX0" fmla="*/ 6255 w 9150246"/>
              <a:gd name="connsiteY0" fmla="*/ 142 h 6867509"/>
              <a:gd name="connsiteX1" fmla="*/ 4578245 w 9150246"/>
              <a:gd name="connsiteY1" fmla="*/ 1 h 6867509"/>
              <a:gd name="connsiteX2" fmla="*/ 8981176 w 9150246"/>
              <a:gd name="connsiteY2" fmla="*/ 2383 h 6867509"/>
              <a:gd name="connsiteX3" fmla="*/ 9045470 w 9150246"/>
              <a:gd name="connsiteY3" fmla="*/ 2382 h 6867509"/>
              <a:gd name="connsiteX4" fmla="*/ 9004988 w 9150246"/>
              <a:gd name="connsiteY4" fmla="*/ 83345 h 6867509"/>
              <a:gd name="connsiteX5" fmla="*/ 6949969 w 9150246"/>
              <a:gd name="connsiteY5" fmla="*/ 109538 h 6867509"/>
              <a:gd name="connsiteX6" fmla="*/ 6949969 w 9150246"/>
              <a:gd name="connsiteY6" fmla="*/ 1057276 h 6867509"/>
              <a:gd name="connsiteX7" fmla="*/ 9050233 w 9150246"/>
              <a:gd name="connsiteY7" fmla="*/ 1057276 h 6867509"/>
              <a:gd name="connsiteX8" fmla="*/ 9050233 w 9150246"/>
              <a:gd name="connsiteY8" fmla="*/ 111922 h 6867509"/>
              <a:gd name="connsiteX9" fmla="*/ 9078807 w 9150246"/>
              <a:gd name="connsiteY9" fmla="*/ 0 h 6867509"/>
              <a:gd name="connsiteX10" fmla="*/ 9150235 w 9150246"/>
              <a:gd name="connsiteY10" fmla="*/ 142 h 6867509"/>
              <a:gd name="connsiteX11" fmla="*/ 9150246 w 9150246"/>
              <a:gd name="connsiteY11" fmla="*/ 6862763 h 6867509"/>
              <a:gd name="connsiteX12" fmla="*/ 0 w 9150246"/>
              <a:gd name="connsiteY12" fmla="*/ 6867509 h 6867509"/>
              <a:gd name="connsiteX13" fmla="*/ 6255 w 9150246"/>
              <a:gd name="connsiteY13" fmla="*/ 142 h 6867509"/>
              <a:gd name="connsiteX0" fmla="*/ 6255 w 9150246"/>
              <a:gd name="connsiteY0" fmla="*/ 142 h 6867509"/>
              <a:gd name="connsiteX1" fmla="*/ 4578245 w 9150246"/>
              <a:gd name="connsiteY1" fmla="*/ 1 h 6867509"/>
              <a:gd name="connsiteX2" fmla="*/ 8981176 w 9150246"/>
              <a:gd name="connsiteY2" fmla="*/ 2383 h 6867509"/>
              <a:gd name="connsiteX3" fmla="*/ 9014514 w 9150246"/>
              <a:gd name="connsiteY3" fmla="*/ 2382 h 6867509"/>
              <a:gd name="connsiteX4" fmla="*/ 9004988 w 9150246"/>
              <a:gd name="connsiteY4" fmla="*/ 83345 h 6867509"/>
              <a:gd name="connsiteX5" fmla="*/ 6949969 w 9150246"/>
              <a:gd name="connsiteY5" fmla="*/ 109538 h 6867509"/>
              <a:gd name="connsiteX6" fmla="*/ 6949969 w 9150246"/>
              <a:gd name="connsiteY6" fmla="*/ 1057276 h 6867509"/>
              <a:gd name="connsiteX7" fmla="*/ 9050233 w 9150246"/>
              <a:gd name="connsiteY7" fmla="*/ 1057276 h 6867509"/>
              <a:gd name="connsiteX8" fmla="*/ 9050233 w 9150246"/>
              <a:gd name="connsiteY8" fmla="*/ 111922 h 6867509"/>
              <a:gd name="connsiteX9" fmla="*/ 9078807 w 9150246"/>
              <a:gd name="connsiteY9" fmla="*/ 0 h 6867509"/>
              <a:gd name="connsiteX10" fmla="*/ 9150235 w 9150246"/>
              <a:gd name="connsiteY10" fmla="*/ 142 h 6867509"/>
              <a:gd name="connsiteX11" fmla="*/ 9150246 w 9150246"/>
              <a:gd name="connsiteY11" fmla="*/ 6862763 h 6867509"/>
              <a:gd name="connsiteX12" fmla="*/ 0 w 9150246"/>
              <a:gd name="connsiteY12" fmla="*/ 6867509 h 6867509"/>
              <a:gd name="connsiteX13" fmla="*/ 6255 w 9150246"/>
              <a:gd name="connsiteY13" fmla="*/ 142 h 6867509"/>
              <a:gd name="connsiteX0" fmla="*/ 6255 w 9150246"/>
              <a:gd name="connsiteY0" fmla="*/ 142 h 6867509"/>
              <a:gd name="connsiteX1" fmla="*/ 4578245 w 9150246"/>
              <a:gd name="connsiteY1" fmla="*/ 1 h 6867509"/>
              <a:gd name="connsiteX2" fmla="*/ 8981176 w 9150246"/>
              <a:gd name="connsiteY2" fmla="*/ 2383 h 6867509"/>
              <a:gd name="connsiteX3" fmla="*/ 9014514 w 9150246"/>
              <a:gd name="connsiteY3" fmla="*/ 2382 h 6867509"/>
              <a:gd name="connsiteX4" fmla="*/ 9004988 w 9150246"/>
              <a:gd name="connsiteY4" fmla="*/ 83345 h 6867509"/>
              <a:gd name="connsiteX5" fmla="*/ 6949969 w 9150246"/>
              <a:gd name="connsiteY5" fmla="*/ 109538 h 6867509"/>
              <a:gd name="connsiteX6" fmla="*/ 6949969 w 9150246"/>
              <a:gd name="connsiteY6" fmla="*/ 1057276 h 6867509"/>
              <a:gd name="connsiteX7" fmla="*/ 9050233 w 9150246"/>
              <a:gd name="connsiteY7" fmla="*/ 1057276 h 6867509"/>
              <a:gd name="connsiteX8" fmla="*/ 9050233 w 9150246"/>
              <a:gd name="connsiteY8" fmla="*/ 111922 h 6867509"/>
              <a:gd name="connsiteX9" fmla="*/ 9078807 w 9150246"/>
              <a:gd name="connsiteY9" fmla="*/ 0 h 6867509"/>
              <a:gd name="connsiteX10" fmla="*/ 9150235 w 9150246"/>
              <a:gd name="connsiteY10" fmla="*/ 142 h 6867509"/>
              <a:gd name="connsiteX11" fmla="*/ 9150246 w 9150246"/>
              <a:gd name="connsiteY11" fmla="*/ 6862763 h 6867509"/>
              <a:gd name="connsiteX12" fmla="*/ 0 w 9150246"/>
              <a:gd name="connsiteY12" fmla="*/ 6867509 h 6867509"/>
              <a:gd name="connsiteX13" fmla="*/ 6255 w 9150246"/>
              <a:gd name="connsiteY13" fmla="*/ 142 h 6867509"/>
              <a:gd name="connsiteX0" fmla="*/ 6255 w 9150246"/>
              <a:gd name="connsiteY0" fmla="*/ 142 h 6867509"/>
              <a:gd name="connsiteX1" fmla="*/ 4578245 w 9150246"/>
              <a:gd name="connsiteY1" fmla="*/ 1 h 6867509"/>
              <a:gd name="connsiteX2" fmla="*/ 8981176 w 9150246"/>
              <a:gd name="connsiteY2" fmla="*/ 2383 h 6867509"/>
              <a:gd name="connsiteX3" fmla="*/ 9014514 w 9150246"/>
              <a:gd name="connsiteY3" fmla="*/ 2382 h 6867509"/>
              <a:gd name="connsiteX4" fmla="*/ 9004988 w 9150246"/>
              <a:gd name="connsiteY4" fmla="*/ 83345 h 6867509"/>
              <a:gd name="connsiteX5" fmla="*/ 6949969 w 9150246"/>
              <a:gd name="connsiteY5" fmla="*/ 109538 h 6867509"/>
              <a:gd name="connsiteX6" fmla="*/ 6949969 w 9150246"/>
              <a:gd name="connsiteY6" fmla="*/ 1057276 h 6867509"/>
              <a:gd name="connsiteX7" fmla="*/ 9050233 w 9150246"/>
              <a:gd name="connsiteY7" fmla="*/ 1057276 h 6867509"/>
              <a:gd name="connsiteX8" fmla="*/ 9050233 w 9150246"/>
              <a:gd name="connsiteY8" fmla="*/ 111922 h 6867509"/>
              <a:gd name="connsiteX9" fmla="*/ 9047851 w 9150246"/>
              <a:gd name="connsiteY9" fmla="*/ 0 h 6867509"/>
              <a:gd name="connsiteX10" fmla="*/ 9150235 w 9150246"/>
              <a:gd name="connsiteY10" fmla="*/ 142 h 6867509"/>
              <a:gd name="connsiteX11" fmla="*/ 9150246 w 9150246"/>
              <a:gd name="connsiteY11" fmla="*/ 6862763 h 6867509"/>
              <a:gd name="connsiteX12" fmla="*/ 0 w 9150246"/>
              <a:gd name="connsiteY12" fmla="*/ 6867509 h 6867509"/>
              <a:gd name="connsiteX13" fmla="*/ 6255 w 9150246"/>
              <a:gd name="connsiteY13" fmla="*/ 142 h 6867509"/>
              <a:gd name="connsiteX0" fmla="*/ 6255 w 9150246"/>
              <a:gd name="connsiteY0" fmla="*/ 142 h 6867509"/>
              <a:gd name="connsiteX1" fmla="*/ 4578245 w 9150246"/>
              <a:gd name="connsiteY1" fmla="*/ 1 h 6867509"/>
              <a:gd name="connsiteX2" fmla="*/ 8981176 w 9150246"/>
              <a:gd name="connsiteY2" fmla="*/ 2383 h 6867509"/>
              <a:gd name="connsiteX3" fmla="*/ 9014514 w 9150246"/>
              <a:gd name="connsiteY3" fmla="*/ 2382 h 6867509"/>
              <a:gd name="connsiteX4" fmla="*/ 9004988 w 9150246"/>
              <a:gd name="connsiteY4" fmla="*/ 83345 h 6867509"/>
              <a:gd name="connsiteX5" fmla="*/ 6949969 w 9150246"/>
              <a:gd name="connsiteY5" fmla="*/ 109538 h 6867509"/>
              <a:gd name="connsiteX6" fmla="*/ 6949969 w 9150246"/>
              <a:gd name="connsiteY6" fmla="*/ 1057276 h 6867509"/>
              <a:gd name="connsiteX7" fmla="*/ 9050233 w 9150246"/>
              <a:gd name="connsiteY7" fmla="*/ 1057276 h 6867509"/>
              <a:gd name="connsiteX8" fmla="*/ 9050233 w 9150246"/>
              <a:gd name="connsiteY8" fmla="*/ 111922 h 6867509"/>
              <a:gd name="connsiteX9" fmla="*/ 9047851 w 9150246"/>
              <a:gd name="connsiteY9" fmla="*/ 0 h 6867509"/>
              <a:gd name="connsiteX10" fmla="*/ 9150235 w 9150246"/>
              <a:gd name="connsiteY10" fmla="*/ 142 h 6867509"/>
              <a:gd name="connsiteX11" fmla="*/ 9150246 w 9150246"/>
              <a:gd name="connsiteY11" fmla="*/ 6862763 h 6867509"/>
              <a:gd name="connsiteX12" fmla="*/ 0 w 9150246"/>
              <a:gd name="connsiteY12" fmla="*/ 6867509 h 6867509"/>
              <a:gd name="connsiteX13" fmla="*/ 6255 w 9150246"/>
              <a:gd name="connsiteY13" fmla="*/ 142 h 6867509"/>
              <a:gd name="connsiteX0" fmla="*/ 6255 w 9150246"/>
              <a:gd name="connsiteY0" fmla="*/ 142 h 6867509"/>
              <a:gd name="connsiteX1" fmla="*/ 4578245 w 9150246"/>
              <a:gd name="connsiteY1" fmla="*/ 1 h 6867509"/>
              <a:gd name="connsiteX2" fmla="*/ 9014514 w 9150246"/>
              <a:gd name="connsiteY2" fmla="*/ 2382 h 6867509"/>
              <a:gd name="connsiteX3" fmla="*/ 9004988 w 9150246"/>
              <a:gd name="connsiteY3" fmla="*/ 83345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47851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2 h 6867509"/>
              <a:gd name="connsiteX1" fmla="*/ 4578245 w 9150246"/>
              <a:gd name="connsiteY1" fmla="*/ 1 h 6867509"/>
              <a:gd name="connsiteX2" fmla="*/ 9014514 w 9150246"/>
              <a:gd name="connsiteY2" fmla="*/ 2382 h 6867509"/>
              <a:gd name="connsiteX3" fmla="*/ 9004988 w 9150246"/>
              <a:gd name="connsiteY3" fmla="*/ 83345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47851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2 h 6867509"/>
              <a:gd name="connsiteX1" fmla="*/ 4578245 w 9150246"/>
              <a:gd name="connsiteY1" fmla="*/ 1 h 6867509"/>
              <a:gd name="connsiteX2" fmla="*/ 9014514 w 9150246"/>
              <a:gd name="connsiteY2" fmla="*/ 2382 h 6867509"/>
              <a:gd name="connsiteX3" fmla="*/ 9004988 w 9150246"/>
              <a:gd name="connsiteY3" fmla="*/ 83345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47851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2 h 6867509"/>
              <a:gd name="connsiteX1" fmla="*/ 4578245 w 9150246"/>
              <a:gd name="connsiteY1" fmla="*/ 1 h 6867509"/>
              <a:gd name="connsiteX2" fmla="*/ 9050233 w 9150246"/>
              <a:gd name="connsiteY2" fmla="*/ 2382 h 6867509"/>
              <a:gd name="connsiteX3" fmla="*/ 9004988 w 9150246"/>
              <a:gd name="connsiteY3" fmla="*/ 83345 h 6867509"/>
              <a:gd name="connsiteX4" fmla="*/ 6949969 w 9150246"/>
              <a:gd name="connsiteY4" fmla="*/ 109538 h 6867509"/>
              <a:gd name="connsiteX5" fmla="*/ 6949969 w 9150246"/>
              <a:gd name="connsiteY5" fmla="*/ 1057276 h 6867509"/>
              <a:gd name="connsiteX6" fmla="*/ 9050233 w 9150246"/>
              <a:gd name="connsiteY6" fmla="*/ 1057276 h 6867509"/>
              <a:gd name="connsiteX7" fmla="*/ 9050233 w 9150246"/>
              <a:gd name="connsiteY7" fmla="*/ 111922 h 6867509"/>
              <a:gd name="connsiteX8" fmla="*/ 9047851 w 9150246"/>
              <a:gd name="connsiteY8" fmla="*/ 0 h 6867509"/>
              <a:gd name="connsiteX9" fmla="*/ 9150235 w 9150246"/>
              <a:gd name="connsiteY9" fmla="*/ 142 h 6867509"/>
              <a:gd name="connsiteX10" fmla="*/ 9150246 w 9150246"/>
              <a:gd name="connsiteY10" fmla="*/ 6862763 h 6867509"/>
              <a:gd name="connsiteX11" fmla="*/ 0 w 9150246"/>
              <a:gd name="connsiteY11" fmla="*/ 6867509 h 6867509"/>
              <a:gd name="connsiteX12" fmla="*/ 6255 w 9150246"/>
              <a:gd name="connsiteY12" fmla="*/ 142 h 6867509"/>
              <a:gd name="connsiteX0" fmla="*/ 6255 w 9150246"/>
              <a:gd name="connsiteY0" fmla="*/ 141 h 6867508"/>
              <a:gd name="connsiteX1" fmla="*/ 4578245 w 9150246"/>
              <a:gd name="connsiteY1" fmla="*/ 0 h 6867508"/>
              <a:gd name="connsiteX2" fmla="*/ 9050233 w 9150246"/>
              <a:gd name="connsiteY2" fmla="*/ 2381 h 6867508"/>
              <a:gd name="connsiteX3" fmla="*/ 9004988 w 9150246"/>
              <a:gd name="connsiteY3" fmla="*/ 83344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107382 w 9150246"/>
              <a:gd name="connsiteY8" fmla="*/ 4762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050233 w 9150246"/>
              <a:gd name="connsiteY2" fmla="*/ 2381 h 6867508"/>
              <a:gd name="connsiteX3" fmla="*/ 9004988 w 9150246"/>
              <a:gd name="connsiteY3" fmla="*/ 83344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107382 w 9150246"/>
              <a:gd name="connsiteY8" fmla="*/ 4762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050233 w 9150246"/>
              <a:gd name="connsiteY2" fmla="*/ 2381 h 6867508"/>
              <a:gd name="connsiteX3" fmla="*/ 9004988 w 9150246"/>
              <a:gd name="connsiteY3" fmla="*/ 83344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047850 w 9150246"/>
              <a:gd name="connsiteY8" fmla="*/ 4762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050233 w 9150246"/>
              <a:gd name="connsiteY2" fmla="*/ 2381 h 6867508"/>
              <a:gd name="connsiteX3" fmla="*/ 9004988 w 9150246"/>
              <a:gd name="connsiteY3" fmla="*/ 83344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047850 w 9150246"/>
              <a:gd name="connsiteY8" fmla="*/ 0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050233 w 9150246"/>
              <a:gd name="connsiteY2" fmla="*/ 2381 h 6867508"/>
              <a:gd name="connsiteX3" fmla="*/ 9052613 w 9150246"/>
              <a:gd name="connsiteY3" fmla="*/ 109538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047850 w 9150246"/>
              <a:gd name="connsiteY8" fmla="*/ 0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050233 w 9150246"/>
              <a:gd name="connsiteY2" fmla="*/ 2381 h 6867508"/>
              <a:gd name="connsiteX3" fmla="*/ 9052613 w 9150246"/>
              <a:gd name="connsiteY3" fmla="*/ 109538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150244 w 9150246"/>
              <a:gd name="connsiteY8" fmla="*/ 2381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147864 w 9150246"/>
              <a:gd name="connsiteY2" fmla="*/ 2381 h 6867508"/>
              <a:gd name="connsiteX3" fmla="*/ 9052613 w 9150246"/>
              <a:gd name="connsiteY3" fmla="*/ 109538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150244 w 9150246"/>
              <a:gd name="connsiteY8" fmla="*/ 2381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147864 w 9150246"/>
              <a:gd name="connsiteY2" fmla="*/ 2381 h 6867508"/>
              <a:gd name="connsiteX3" fmla="*/ 9052613 w 9150246"/>
              <a:gd name="connsiteY3" fmla="*/ 109538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150244 w 9150246"/>
              <a:gd name="connsiteY8" fmla="*/ 2381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50246"/>
              <a:gd name="connsiteY0" fmla="*/ 141 h 6867508"/>
              <a:gd name="connsiteX1" fmla="*/ 4578245 w 9150246"/>
              <a:gd name="connsiteY1" fmla="*/ 0 h 6867508"/>
              <a:gd name="connsiteX2" fmla="*/ 9147864 w 9150246"/>
              <a:gd name="connsiteY2" fmla="*/ 2381 h 6867508"/>
              <a:gd name="connsiteX3" fmla="*/ 9052613 w 9150246"/>
              <a:gd name="connsiteY3" fmla="*/ 109538 h 6867508"/>
              <a:gd name="connsiteX4" fmla="*/ 6949969 w 9150246"/>
              <a:gd name="connsiteY4" fmla="*/ 109537 h 6867508"/>
              <a:gd name="connsiteX5" fmla="*/ 6949969 w 9150246"/>
              <a:gd name="connsiteY5" fmla="*/ 1057275 h 6867508"/>
              <a:gd name="connsiteX6" fmla="*/ 9050233 w 9150246"/>
              <a:gd name="connsiteY6" fmla="*/ 1057275 h 6867508"/>
              <a:gd name="connsiteX7" fmla="*/ 9050233 w 9150246"/>
              <a:gd name="connsiteY7" fmla="*/ 111921 h 6867508"/>
              <a:gd name="connsiteX8" fmla="*/ 9150244 w 9150246"/>
              <a:gd name="connsiteY8" fmla="*/ 2381 h 6867508"/>
              <a:gd name="connsiteX9" fmla="*/ 9150235 w 9150246"/>
              <a:gd name="connsiteY9" fmla="*/ 141 h 6867508"/>
              <a:gd name="connsiteX10" fmla="*/ 9150246 w 9150246"/>
              <a:gd name="connsiteY10" fmla="*/ 6862762 h 6867508"/>
              <a:gd name="connsiteX11" fmla="*/ 0 w 9150246"/>
              <a:gd name="connsiteY11" fmla="*/ 6867508 h 6867508"/>
              <a:gd name="connsiteX12" fmla="*/ 6255 w 9150246"/>
              <a:gd name="connsiteY12" fmla="*/ 141 h 6867508"/>
              <a:gd name="connsiteX0" fmla="*/ 6255 w 9171666"/>
              <a:gd name="connsiteY0" fmla="*/ 14288 h 6881655"/>
              <a:gd name="connsiteX1" fmla="*/ 4578245 w 9171666"/>
              <a:gd name="connsiteY1" fmla="*/ 14147 h 6881655"/>
              <a:gd name="connsiteX2" fmla="*/ 9147864 w 9171666"/>
              <a:gd name="connsiteY2" fmla="*/ 16528 h 6881655"/>
              <a:gd name="connsiteX3" fmla="*/ 9052613 w 9171666"/>
              <a:gd name="connsiteY3" fmla="*/ 123685 h 6881655"/>
              <a:gd name="connsiteX4" fmla="*/ 6949969 w 9171666"/>
              <a:gd name="connsiteY4" fmla="*/ 123684 h 6881655"/>
              <a:gd name="connsiteX5" fmla="*/ 6949969 w 9171666"/>
              <a:gd name="connsiteY5" fmla="*/ 1071422 h 6881655"/>
              <a:gd name="connsiteX6" fmla="*/ 9050233 w 9171666"/>
              <a:gd name="connsiteY6" fmla="*/ 1071422 h 6881655"/>
              <a:gd name="connsiteX7" fmla="*/ 9050233 w 9171666"/>
              <a:gd name="connsiteY7" fmla="*/ 126068 h 6881655"/>
              <a:gd name="connsiteX8" fmla="*/ 9150244 w 9171666"/>
              <a:gd name="connsiteY8" fmla="*/ 16528 h 6881655"/>
              <a:gd name="connsiteX9" fmla="*/ 9171666 w 9171666"/>
              <a:gd name="connsiteY9" fmla="*/ 0 h 6881655"/>
              <a:gd name="connsiteX10" fmla="*/ 9150246 w 9171666"/>
              <a:gd name="connsiteY10" fmla="*/ 6876909 h 6881655"/>
              <a:gd name="connsiteX11" fmla="*/ 0 w 9171666"/>
              <a:gd name="connsiteY11" fmla="*/ 6881655 h 6881655"/>
              <a:gd name="connsiteX12" fmla="*/ 6255 w 9171666"/>
              <a:gd name="connsiteY12" fmla="*/ 14288 h 6881655"/>
              <a:gd name="connsiteX0" fmla="*/ 6255 w 9171666"/>
              <a:gd name="connsiteY0" fmla="*/ 14288 h 6881655"/>
              <a:gd name="connsiteX1" fmla="*/ 4578245 w 9171666"/>
              <a:gd name="connsiteY1" fmla="*/ 14147 h 6881655"/>
              <a:gd name="connsiteX2" fmla="*/ 9147864 w 9171666"/>
              <a:gd name="connsiteY2" fmla="*/ 16528 h 6881655"/>
              <a:gd name="connsiteX3" fmla="*/ 9052613 w 9171666"/>
              <a:gd name="connsiteY3" fmla="*/ 123685 h 6881655"/>
              <a:gd name="connsiteX4" fmla="*/ 6949969 w 9171666"/>
              <a:gd name="connsiteY4" fmla="*/ 123684 h 6881655"/>
              <a:gd name="connsiteX5" fmla="*/ 6949969 w 9171666"/>
              <a:gd name="connsiteY5" fmla="*/ 1071422 h 6881655"/>
              <a:gd name="connsiteX6" fmla="*/ 9050233 w 9171666"/>
              <a:gd name="connsiteY6" fmla="*/ 1071422 h 6881655"/>
              <a:gd name="connsiteX7" fmla="*/ 9050233 w 9171666"/>
              <a:gd name="connsiteY7" fmla="*/ 126068 h 6881655"/>
              <a:gd name="connsiteX8" fmla="*/ 9150244 w 9171666"/>
              <a:gd name="connsiteY8" fmla="*/ 16528 h 6881655"/>
              <a:gd name="connsiteX9" fmla="*/ 9171666 w 9171666"/>
              <a:gd name="connsiteY9" fmla="*/ 0 h 6881655"/>
              <a:gd name="connsiteX10" fmla="*/ 9150246 w 9171666"/>
              <a:gd name="connsiteY10" fmla="*/ 6876909 h 6881655"/>
              <a:gd name="connsiteX11" fmla="*/ 0 w 9171666"/>
              <a:gd name="connsiteY11" fmla="*/ 6881655 h 6881655"/>
              <a:gd name="connsiteX12" fmla="*/ 6255 w 9171666"/>
              <a:gd name="connsiteY12" fmla="*/ 14288 h 6881655"/>
              <a:gd name="connsiteX0" fmla="*/ 6255 w 9171666"/>
              <a:gd name="connsiteY0" fmla="*/ 40623 h 6907990"/>
              <a:gd name="connsiteX1" fmla="*/ 4578245 w 9171666"/>
              <a:gd name="connsiteY1" fmla="*/ 40482 h 6907990"/>
              <a:gd name="connsiteX2" fmla="*/ 9147864 w 9171666"/>
              <a:gd name="connsiteY2" fmla="*/ 42863 h 6907990"/>
              <a:gd name="connsiteX3" fmla="*/ 9052613 w 9171666"/>
              <a:gd name="connsiteY3" fmla="*/ 150020 h 6907990"/>
              <a:gd name="connsiteX4" fmla="*/ 6949969 w 9171666"/>
              <a:gd name="connsiteY4" fmla="*/ 150019 h 6907990"/>
              <a:gd name="connsiteX5" fmla="*/ 6949969 w 9171666"/>
              <a:gd name="connsiteY5" fmla="*/ 1097757 h 6907990"/>
              <a:gd name="connsiteX6" fmla="*/ 9050233 w 9171666"/>
              <a:gd name="connsiteY6" fmla="*/ 1097757 h 6907990"/>
              <a:gd name="connsiteX7" fmla="*/ 9050233 w 9171666"/>
              <a:gd name="connsiteY7" fmla="*/ 152403 h 6907990"/>
              <a:gd name="connsiteX8" fmla="*/ 9050232 w 9171666"/>
              <a:gd name="connsiteY8" fmla="*/ 0 h 6907990"/>
              <a:gd name="connsiteX9" fmla="*/ 9171666 w 9171666"/>
              <a:gd name="connsiteY9" fmla="*/ 26335 h 6907990"/>
              <a:gd name="connsiteX10" fmla="*/ 9150246 w 9171666"/>
              <a:gd name="connsiteY10" fmla="*/ 6903244 h 6907990"/>
              <a:gd name="connsiteX11" fmla="*/ 0 w 9171666"/>
              <a:gd name="connsiteY11" fmla="*/ 6907990 h 6907990"/>
              <a:gd name="connsiteX12" fmla="*/ 6255 w 9171666"/>
              <a:gd name="connsiteY12" fmla="*/ 40623 h 6907990"/>
              <a:gd name="connsiteX0" fmla="*/ 6255 w 9171666"/>
              <a:gd name="connsiteY0" fmla="*/ 40623 h 6907990"/>
              <a:gd name="connsiteX1" fmla="*/ 4578245 w 9171666"/>
              <a:gd name="connsiteY1" fmla="*/ 40482 h 6907990"/>
              <a:gd name="connsiteX2" fmla="*/ 9147864 w 9171666"/>
              <a:gd name="connsiteY2" fmla="*/ 42863 h 6907990"/>
              <a:gd name="connsiteX3" fmla="*/ 9052613 w 9171666"/>
              <a:gd name="connsiteY3" fmla="*/ 150020 h 6907990"/>
              <a:gd name="connsiteX4" fmla="*/ 6949969 w 9171666"/>
              <a:gd name="connsiteY4" fmla="*/ 150019 h 6907990"/>
              <a:gd name="connsiteX5" fmla="*/ 6949969 w 9171666"/>
              <a:gd name="connsiteY5" fmla="*/ 1097757 h 6907990"/>
              <a:gd name="connsiteX6" fmla="*/ 9050233 w 9171666"/>
              <a:gd name="connsiteY6" fmla="*/ 1097757 h 6907990"/>
              <a:gd name="connsiteX7" fmla="*/ 9050233 w 9171666"/>
              <a:gd name="connsiteY7" fmla="*/ 152403 h 6907990"/>
              <a:gd name="connsiteX8" fmla="*/ 9050232 w 9171666"/>
              <a:gd name="connsiteY8" fmla="*/ 0 h 6907990"/>
              <a:gd name="connsiteX9" fmla="*/ 9171666 w 9171666"/>
              <a:gd name="connsiteY9" fmla="*/ 26335 h 6907990"/>
              <a:gd name="connsiteX10" fmla="*/ 9150246 w 9171666"/>
              <a:gd name="connsiteY10" fmla="*/ 6903244 h 6907990"/>
              <a:gd name="connsiteX11" fmla="*/ 0 w 9171666"/>
              <a:gd name="connsiteY11" fmla="*/ 6907990 h 6907990"/>
              <a:gd name="connsiteX12" fmla="*/ 6255 w 9171666"/>
              <a:gd name="connsiteY12" fmla="*/ 40623 h 6907990"/>
              <a:gd name="connsiteX0" fmla="*/ 6255 w 9171666"/>
              <a:gd name="connsiteY0" fmla="*/ 40623 h 6907990"/>
              <a:gd name="connsiteX1" fmla="*/ 4578245 w 9171666"/>
              <a:gd name="connsiteY1" fmla="*/ 40482 h 6907990"/>
              <a:gd name="connsiteX2" fmla="*/ 9147864 w 9171666"/>
              <a:gd name="connsiteY2" fmla="*/ 42863 h 6907990"/>
              <a:gd name="connsiteX3" fmla="*/ 9052613 w 9171666"/>
              <a:gd name="connsiteY3" fmla="*/ 150020 h 6907990"/>
              <a:gd name="connsiteX4" fmla="*/ 6949969 w 9171666"/>
              <a:gd name="connsiteY4" fmla="*/ 150019 h 6907990"/>
              <a:gd name="connsiteX5" fmla="*/ 6949969 w 9171666"/>
              <a:gd name="connsiteY5" fmla="*/ 1097757 h 6907990"/>
              <a:gd name="connsiteX6" fmla="*/ 9050233 w 9171666"/>
              <a:gd name="connsiteY6" fmla="*/ 1097757 h 6907990"/>
              <a:gd name="connsiteX7" fmla="*/ 9050233 w 9171666"/>
              <a:gd name="connsiteY7" fmla="*/ 152403 h 6907990"/>
              <a:gd name="connsiteX8" fmla="*/ 9050232 w 9171666"/>
              <a:gd name="connsiteY8" fmla="*/ 0 h 6907990"/>
              <a:gd name="connsiteX9" fmla="*/ 9171666 w 9171666"/>
              <a:gd name="connsiteY9" fmla="*/ 26335 h 6907990"/>
              <a:gd name="connsiteX10" fmla="*/ 9150246 w 9171666"/>
              <a:gd name="connsiteY10" fmla="*/ 6903244 h 6907990"/>
              <a:gd name="connsiteX11" fmla="*/ 0 w 9171666"/>
              <a:gd name="connsiteY11" fmla="*/ 6907990 h 6907990"/>
              <a:gd name="connsiteX12" fmla="*/ 6255 w 9171666"/>
              <a:gd name="connsiteY12" fmla="*/ 40623 h 6907990"/>
              <a:gd name="connsiteX0" fmla="*/ 6255 w 9178809"/>
              <a:gd name="connsiteY0" fmla="*/ 59531 h 6926898"/>
              <a:gd name="connsiteX1" fmla="*/ 4578245 w 9178809"/>
              <a:gd name="connsiteY1" fmla="*/ 59390 h 6926898"/>
              <a:gd name="connsiteX2" fmla="*/ 9147864 w 9178809"/>
              <a:gd name="connsiteY2" fmla="*/ 61771 h 6926898"/>
              <a:gd name="connsiteX3" fmla="*/ 9052613 w 9178809"/>
              <a:gd name="connsiteY3" fmla="*/ 168928 h 6926898"/>
              <a:gd name="connsiteX4" fmla="*/ 6949969 w 9178809"/>
              <a:gd name="connsiteY4" fmla="*/ 168927 h 6926898"/>
              <a:gd name="connsiteX5" fmla="*/ 6949969 w 9178809"/>
              <a:gd name="connsiteY5" fmla="*/ 1116665 h 6926898"/>
              <a:gd name="connsiteX6" fmla="*/ 9050233 w 9178809"/>
              <a:gd name="connsiteY6" fmla="*/ 1116665 h 6926898"/>
              <a:gd name="connsiteX7" fmla="*/ 9050233 w 9178809"/>
              <a:gd name="connsiteY7" fmla="*/ 171311 h 6926898"/>
              <a:gd name="connsiteX8" fmla="*/ 9050232 w 9178809"/>
              <a:gd name="connsiteY8" fmla="*/ 18908 h 6926898"/>
              <a:gd name="connsiteX9" fmla="*/ 9178809 w 9178809"/>
              <a:gd name="connsiteY9" fmla="*/ 0 h 6926898"/>
              <a:gd name="connsiteX10" fmla="*/ 9150246 w 9178809"/>
              <a:gd name="connsiteY10" fmla="*/ 6922152 h 6926898"/>
              <a:gd name="connsiteX11" fmla="*/ 0 w 9178809"/>
              <a:gd name="connsiteY11" fmla="*/ 6926898 h 6926898"/>
              <a:gd name="connsiteX12" fmla="*/ 6255 w 9178809"/>
              <a:gd name="connsiteY12" fmla="*/ 59531 h 6926898"/>
              <a:gd name="connsiteX0" fmla="*/ 6255 w 9152615"/>
              <a:gd name="connsiteY0" fmla="*/ 40623 h 6907990"/>
              <a:gd name="connsiteX1" fmla="*/ 4578245 w 9152615"/>
              <a:gd name="connsiteY1" fmla="*/ 40482 h 6907990"/>
              <a:gd name="connsiteX2" fmla="*/ 9147864 w 9152615"/>
              <a:gd name="connsiteY2" fmla="*/ 42863 h 6907990"/>
              <a:gd name="connsiteX3" fmla="*/ 9052613 w 9152615"/>
              <a:gd name="connsiteY3" fmla="*/ 150020 h 6907990"/>
              <a:gd name="connsiteX4" fmla="*/ 6949969 w 9152615"/>
              <a:gd name="connsiteY4" fmla="*/ 150019 h 6907990"/>
              <a:gd name="connsiteX5" fmla="*/ 6949969 w 9152615"/>
              <a:gd name="connsiteY5" fmla="*/ 1097757 h 6907990"/>
              <a:gd name="connsiteX6" fmla="*/ 9050233 w 9152615"/>
              <a:gd name="connsiteY6" fmla="*/ 1097757 h 6907990"/>
              <a:gd name="connsiteX7" fmla="*/ 9050233 w 9152615"/>
              <a:gd name="connsiteY7" fmla="*/ 152403 h 6907990"/>
              <a:gd name="connsiteX8" fmla="*/ 9050232 w 9152615"/>
              <a:gd name="connsiteY8" fmla="*/ 0 h 6907990"/>
              <a:gd name="connsiteX9" fmla="*/ 9152615 w 9152615"/>
              <a:gd name="connsiteY9" fmla="*/ 40623 h 6907990"/>
              <a:gd name="connsiteX10" fmla="*/ 9150246 w 9152615"/>
              <a:gd name="connsiteY10" fmla="*/ 6903244 h 6907990"/>
              <a:gd name="connsiteX11" fmla="*/ 0 w 9152615"/>
              <a:gd name="connsiteY11" fmla="*/ 6907990 h 6907990"/>
              <a:gd name="connsiteX12" fmla="*/ 6255 w 9152615"/>
              <a:gd name="connsiteY12" fmla="*/ 40623 h 6907990"/>
              <a:gd name="connsiteX0" fmla="*/ 6255 w 9174046"/>
              <a:gd name="connsiteY0" fmla="*/ 40623 h 6907990"/>
              <a:gd name="connsiteX1" fmla="*/ 4578245 w 9174046"/>
              <a:gd name="connsiteY1" fmla="*/ 40482 h 6907990"/>
              <a:gd name="connsiteX2" fmla="*/ 9147864 w 9174046"/>
              <a:gd name="connsiteY2" fmla="*/ 42863 h 6907990"/>
              <a:gd name="connsiteX3" fmla="*/ 9052613 w 9174046"/>
              <a:gd name="connsiteY3" fmla="*/ 150020 h 6907990"/>
              <a:gd name="connsiteX4" fmla="*/ 6949969 w 9174046"/>
              <a:gd name="connsiteY4" fmla="*/ 150019 h 6907990"/>
              <a:gd name="connsiteX5" fmla="*/ 6949969 w 9174046"/>
              <a:gd name="connsiteY5" fmla="*/ 1097757 h 6907990"/>
              <a:gd name="connsiteX6" fmla="*/ 9050233 w 9174046"/>
              <a:gd name="connsiteY6" fmla="*/ 1097757 h 6907990"/>
              <a:gd name="connsiteX7" fmla="*/ 9050233 w 9174046"/>
              <a:gd name="connsiteY7" fmla="*/ 152403 h 6907990"/>
              <a:gd name="connsiteX8" fmla="*/ 9050232 w 9174046"/>
              <a:gd name="connsiteY8" fmla="*/ 0 h 6907990"/>
              <a:gd name="connsiteX9" fmla="*/ 9174046 w 9174046"/>
              <a:gd name="connsiteY9" fmla="*/ 4904 h 6907990"/>
              <a:gd name="connsiteX10" fmla="*/ 9150246 w 9174046"/>
              <a:gd name="connsiteY10" fmla="*/ 6903244 h 6907990"/>
              <a:gd name="connsiteX11" fmla="*/ 0 w 9174046"/>
              <a:gd name="connsiteY11" fmla="*/ 6907990 h 6907990"/>
              <a:gd name="connsiteX12" fmla="*/ 6255 w 9174046"/>
              <a:gd name="connsiteY12" fmla="*/ 40623 h 6907990"/>
              <a:gd name="connsiteX0" fmla="*/ 6255 w 9152614"/>
              <a:gd name="connsiteY0" fmla="*/ 40623 h 6907990"/>
              <a:gd name="connsiteX1" fmla="*/ 4578245 w 9152614"/>
              <a:gd name="connsiteY1" fmla="*/ 40482 h 6907990"/>
              <a:gd name="connsiteX2" fmla="*/ 9147864 w 9152614"/>
              <a:gd name="connsiteY2" fmla="*/ 42863 h 6907990"/>
              <a:gd name="connsiteX3" fmla="*/ 9052613 w 9152614"/>
              <a:gd name="connsiteY3" fmla="*/ 150020 h 6907990"/>
              <a:gd name="connsiteX4" fmla="*/ 6949969 w 9152614"/>
              <a:gd name="connsiteY4" fmla="*/ 150019 h 6907990"/>
              <a:gd name="connsiteX5" fmla="*/ 6949969 w 9152614"/>
              <a:gd name="connsiteY5" fmla="*/ 1097757 h 6907990"/>
              <a:gd name="connsiteX6" fmla="*/ 9050233 w 9152614"/>
              <a:gd name="connsiteY6" fmla="*/ 1097757 h 6907990"/>
              <a:gd name="connsiteX7" fmla="*/ 9050233 w 9152614"/>
              <a:gd name="connsiteY7" fmla="*/ 152403 h 6907990"/>
              <a:gd name="connsiteX8" fmla="*/ 9050232 w 9152614"/>
              <a:gd name="connsiteY8" fmla="*/ 0 h 6907990"/>
              <a:gd name="connsiteX9" fmla="*/ 9152614 w 9152614"/>
              <a:gd name="connsiteY9" fmla="*/ 35860 h 6907990"/>
              <a:gd name="connsiteX10" fmla="*/ 9150246 w 9152614"/>
              <a:gd name="connsiteY10" fmla="*/ 6903244 h 6907990"/>
              <a:gd name="connsiteX11" fmla="*/ 0 w 9152614"/>
              <a:gd name="connsiteY11" fmla="*/ 6907990 h 6907990"/>
              <a:gd name="connsiteX12" fmla="*/ 6255 w 9152614"/>
              <a:gd name="connsiteY12" fmla="*/ 40623 h 6907990"/>
              <a:gd name="connsiteX0" fmla="*/ 6255 w 9152614"/>
              <a:gd name="connsiteY0" fmla="*/ 4763 h 6872130"/>
              <a:gd name="connsiteX1" fmla="*/ 4578245 w 9152614"/>
              <a:gd name="connsiteY1" fmla="*/ 4622 h 6872130"/>
              <a:gd name="connsiteX2" fmla="*/ 9147864 w 9152614"/>
              <a:gd name="connsiteY2" fmla="*/ 7003 h 6872130"/>
              <a:gd name="connsiteX3" fmla="*/ 9052613 w 9152614"/>
              <a:gd name="connsiteY3" fmla="*/ 114160 h 6872130"/>
              <a:gd name="connsiteX4" fmla="*/ 6949969 w 9152614"/>
              <a:gd name="connsiteY4" fmla="*/ 114159 h 6872130"/>
              <a:gd name="connsiteX5" fmla="*/ 6949969 w 9152614"/>
              <a:gd name="connsiteY5" fmla="*/ 1061897 h 6872130"/>
              <a:gd name="connsiteX6" fmla="*/ 9050233 w 9152614"/>
              <a:gd name="connsiteY6" fmla="*/ 1061897 h 6872130"/>
              <a:gd name="connsiteX7" fmla="*/ 9050233 w 9152614"/>
              <a:gd name="connsiteY7" fmla="*/ 116543 h 6872130"/>
              <a:gd name="connsiteX8" fmla="*/ 8900214 w 9152614"/>
              <a:gd name="connsiteY8" fmla="*/ 57009 h 6872130"/>
              <a:gd name="connsiteX9" fmla="*/ 9152614 w 9152614"/>
              <a:gd name="connsiteY9" fmla="*/ 0 h 6872130"/>
              <a:gd name="connsiteX10" fmla="*/ 9150246 w 9152614"/>
              <a:gd name="connsiteY10" fmla="*/ 6867384 h 6872130"/>
              <a:gd name="connsiteX11" fmla="*/ 0 w 9152614"/>
              <a:gd name="connsiteY11" fmla="*/ 6872130 h 6872130"/>
              <a:gd name="connsiteX12" fmla="*/ 6255 w 9152614"/>
              <a:gd name="connsiteY12" fmla="*/ 4763 h 6872130"/>
              <a:gd name="connsiteX0" fmla="*/ 6255 w 9152614"/>
              <a:gd name="connsiteY0" fmla="*/ 4763 h 6872130"/>
              <a:gd name="connsiteX1" fmla="*/ 4578245 w 9152614"/>
              <a:gd name="connsiteY1" fmla="*/ 4622 h 6872130"/>
              <a:gd name="connsiteX2" fmla="*/ 9147864 w 9152614"/>
              <a:gd name="connsiteY2" fmla="*/ 7003 h 6872130"/>
              <a:gd name="connsiteX3" fmla="*/ 9052613 w 9152614"/>
              <a:gd name="connsiteY3" fmla="*/ 114160 h 6872130"/>
              <a:gd name="connsiteX4" fmla="*/ 6949969 w 9152614"/>
              <a:gd name="connsiteY4" fmla="*/ 114159 h 6872130"/>
              <a:gd name="connsiteX5" fmla="*/ 6949969 w 9152614"/>
              <a:gd name="connsiteY5" fmla="*/ 1061897 h 6872130"/>
              <a:gd name="connsiteX6" fmla="*/ 9050233 w 9152614"/>
              <a:gd name="connsiteY6" fmla="*/ 1061897 h 6872130"/>
              <a:gd name="connsiteX7" fmla="*/ 9050233 w 9152614"/>
              <a:gd name="connsiteY7" fmla="*/ 116543 h 6872130"/>
              <a:gd name="connsiteX8" fmla="*/ 8900214 w 9152614"/>
              <a:gd name="connsiteY8" fmla="*/ 57009 h 6872130"/>
              <a:gd name="connsiteX9" fmla="*/ 9152614 w 9152614"/>
              <a:gd name="connsiteY9" fmla="*/ 0 h 6872130"/>
              <a:gd name="connsiteX10" fmla="*/ 9150246 w 9152614"/>
              <a:gd name="connsiteY10" fmla="*/ 6867384 h 6872130"/>
              <a:gd name="connsiteX11" fmla="*/ 0 w 9152614"/>
              <a:gd name="connsiteY11" fmla="*/ 6872130 h 6872130"/>
              <a:gd name="connsiteX12" fmla="*/ 6255 w 9152614"/>
              <a:gd name="connsiteY12" fmla="*/ 4763 h 6872130"/>
              <a:gd name="connsiteX0" fmla="*/ 6255 w 9152614"/>
              <a:gd name="connsiteY0" fmla="*/ 4763 h 6872130"/>
              <a:gd name="connsiteX1" fmla="*/ 4578245 w 9152614"/>
              <a:gd name="connsiteY1" fmla="*/ 4622 h 6872130"/>
              <a:gd name="connsiteX2" fmla="*/ 9147864 w 9152614"/>
              <a:gd name="connsiteY2" fmla="*/ 7003 h 6872130"/>
              <a:gd name="connsiteX3" fmla="*/ 9052613 w 9152614"/>
              <a:gd name="connsiteY3" fmla="*/ 114160 h 6872130"/>
              <a:gd name="connsiteX4" fmla="*/ 6949969 w 9152614"/>
              <a:gd name="connsiteY4" fmla="*/ 114159 h 6872130"/>
              <a:gd name="connsiteX5" fmla="*/ 6949969 w 9152614"/>
              <a:gd name="connsiteY5" fmla="*/ 1061897 h 6872130"/>
              <a:gd name="connsiteX6" fmla="*/ 9050233 w 9152614"/>
              <a:gd name="connsiteY6" fmla="*/ 1061897 h 6872130"/>
              <a:gd name="connsiteX7" fmla="*/ 9050233 w 9152614"/>
              <a:gd name="connsiteY7" fmla="*/ 116543 h 6872130"/>
              <a:gd name="connsiteX8" fmla="*/ 9152614 w 9152614"/>
              <a:gd name="connsiteY8" fmla="*/ 0 h 6872130"/>
              <a:gd name="connsiteX9" fmla="*/ 9150246 w 9152614"/>
              <a:gd name="connsiteY9" fmla="*/ 6867384 h 6872130"/>
              <a:gd name="connsiteX10" fmla="*/ 0 w 9152614"/>
              <a:gd name="connsiteY10" fmla="*/ 6872130 h 6872130"/>
              <a:gd name="connsiteX11" fmla="*/ 6255 w 9152614"/>
              <a:gd name="connsiteY11" fmla="*/ 4763 h 6872130"/>
              <a:gd name="connsiteX0" fmla="*/ 6255 w 9152614"/>
              <a:gd name="connsiteY0" fmla="*/ 141 h 6867508"/>
              <a:gd name="connsiteX1" fmla="*/ 4578245 w 9152614"/>
              <a:gd name="connsiteY1" fmla="*/ 0 h 6867508"/>
              <a:gd name="connsiteX2" fmla="*/ 9147864 w 9152614"/>
              <a:gd name="connsiteY2" fmla="*/ 2381 h 6867508"/>
              <a:gd name="connsiteX3" fmla="*/ 9052613 w 9152614"/>
              <a:gd name="connsiteY3" fmla="*/ 109538 h 6867508"/>
              <a:gd name="connsiteX4" fmla="*/ 6949969 w 9152614"/>
              <a:gd name="connsiteY4" fmla="*/ 109537 h 6867508"/>
              <a:gd name="connsiteX5" fmla="*/ 6949969 w 9152614"/>
              <a:gd name="connsiteY5" fmla="*/ 1057275 h 6867508"/>
              <a:gd name="connsiteX6" fmla="*/ 9050233 w 9152614"/>
              <a:gd name="connsiteY6" fmla="*/ 1057275 h 6867508"/>
              <a:gd name="connsiteX7" fmla="*/ 9050233 w 9152614"/>
              <a:gd name="connsiteY7" fmla="*/ 111921 h 6867508"/>
              <a:gd name="connsiteX8" fmla="*/ 9152614 w 9152614"/>
              <a:gd name="connsiteY8" fmla="*/ 382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52613 w 9152614"/>
              <a:gd name="connsiteY3" fmla="*/ 109538 h 6867508"/>
              <a:gd name="connsiteX4" fmla="*/ 6949969 w 9152614"/>
              <a:gd name="connsiteY4" fmla="*/ 109537 h 6867508"/>
              <a:gd name="connsiteX5" fmla="*/ 6949969 w 9152614"/>
              <a:gd name="connsiteY5" fmla="*/ 1057275 h 6867508"/>
              <a:gd name="connsiteX6" fmla="*/ 9050233 w 9152614"/>
              <a:gd name="connsiteY6" fmla="*/ 1057275 h 6867508"/>
              <a:gd name="connsiteX7" fmla="*/ 9050233 w 9152614"/>
              <a:gd name="connsiteY7" fmla="*/ 111921 h 6867508"/>
              <a:gd name="connsiteX8" fmla="*/ 9152614 w 9152614"/>
              <a:gd name="connsiteY8" fmla="*/ 382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52613 w 9152614"/>
              <a:gd name="connsiteY3" fmla="*/ 109538 h 6867508"/>
              <a:gd name="connsiteX4" fmla="*/ 6949969 w 9152614"/>
              <a:gd name="connsiteY4" fmla="*/ 109537 h 6867508"/>
              <a:gd name="connsiteX5" fmla="*/ 6949969 w 9152614"/>
              <a:gd name="connsiteY5" fmla="*/ 1057275 h 6867508"/>
              <a:gd name="connsiteX6" fmla="*/ 9050233 w 9152614"/>
              <a:gd name="connsiteY6" fmla="*/ 1057275 h 6867508"/>
              <a:gd name="connsiteX7" fmla="*/ 9050233 w 9152614"/>
              <a:gd name="connsiteY7" fmla="*/ 111921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52613 w 9152614"/>
              <a:gd name="connsiteY3" fmla="*/ 109538 h 6867508"/>
              <a:gd name="connsiteX4" fmla="*/ 6949969 w 9152614"/>
              <a:gd name="connsiteY4" fmla="*/ 109537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52613 w 9152614"/>
              <a:gd name="connsiteY3" fmla="*/ 109538 h 6867508"/>
              <a:gd name="connsiteX4" fmla="*/ 6949969 w 9152614"/>
              <a:gd name="connsiteY4" fmla="*/ 109537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8997844 w 9152614"/>
              <a:gd name="connsiteY3" fmla="*/ 59532 h 6867508"/>
              <a:gd name="connsiteX4" fmla="*/ 6949969 w 9152614"/>
              <a:gd name="connsiteY4" fmla="*/ 109537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8997844 w 9152614"/>
              <a:gd name="connsiteY3" fmla="*/ 59532 h 6867508"/>
              <a:gd name="connsiteX4" fmla="*/ 6949969 w 9152614"/>
              <a:gd name="connsiteY4" fmla="*/ 83344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8997844 w 9152614"/>
              <a:gd name="connsiteY3" fmla="*/ 59532 h 6867508"/>
              <a:gd name="connsiteX4" fmla="*/ 6949969 w 9152614"/>
              <a:gd name="connsiteY4" fmla="*/ 83344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8997844 w 9152614"/>
              <a:gd name="connsiteY3" fmla="*/ 59532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083570 w 9152614"/>
              <a:gd name="connsiteY7" fmla="*/ 80964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131195 w 9152614"/>
              <a:gd name="connsiteY7" fmla="*/ 204789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119289 w 9152614"/>
              <a:gd name="connsiteY7" fmla="*/ 185739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114527 w 9152614"/>
              <a:gd name="connsiteY6" fmla="*/ 1054894 h 6867508"/>
              <a:gd name="connsiteX7" fmla="*/ 9119289 w 9152614"/>
              <a:gd name="connsiteY7" fmla="*/ 185739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119289 w 9152614"/>
              <a:gd name="connsiteY7" fmla="*/ 185739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119289 w 9152614"/>
              <a:gd name="connsiteY7" fmla="*/ 185739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141 h 6867508"/>
              <a:gd name="connsiteX1" fmla="*/ 4578245 w 9152614"/>
              <a:gd name="connsiteY1" fmla="*/ 0 h 6867508"/>
              <a:gd name="connsiteX2" fmla="*/ 9150245 w 9152614"/>
              <a:gd name="connsiteY2" fmla="*/ 0 h 6867508"/>
              <a:gd name="connsiteX3" fmla="*/ 9047851 w 9152614"/>
              <a:gd name="connsiteY3" fmla="*/ 109538 h 6867508"/>
              <a:gd name="connsiteX4" fmla="*/ 6949969 w 9152614"/>
              <a:gd name="connsiteY4" fmla="*/ 109538 h 6867508"/>
              <a:gd name="connsiteX5" fmla="*/ 6949969 w 9152614"/>
              <a:gd name="connsiteY5" fmla="*/ 1057275 h 6867508"/>
              <a:gd name="connsiteX6" fmla="*/ 9050233 w 9152614"/>
              <a:gd name="connsiteY6" fmla="*/ 1057275 h 6867508"/>
              <a:gd name="connsiteX7" fmla="*/ 9050233 w 9152614"/>
              <a:gd name="connsiteY7" fmla="*/ 107158 h 6867508"/>
              <a:gd name="connsiteX8" fmla="*/ 9152614 w 9152614"/>
              <a:gd name="connsiteY8" fmla="*/ 140 h 6867508"/>
              <a:gd name="connsiteX9" fmla="*/ 9150246 w 9152614"/>
              <a:gd name="connsiteY9" fmla="*/ 6862762 h 6867508"/>
              <a:gd name="connsiteX10" fmla="*/ 0 w 9152614"/>
              <a:gd name="connsiteY10" fmla="*/ 6867508 h 6867508"/>
              <a:gd name="connsiteX11" fmla="*/ 6255 w 9152614"/>
              <a:gd name="connsiteY11" fmla="*/ 141 h 6867508"/>
              <a:gd name="connsiteX0" fmla="*/ 6255 w 9152614"/>
              <a:gd name="connsiteY0" fmla="*/ 2382 h 6869749"/>
              <a:gd name="connsiteX1" fmla="*/ 4578245 w 9152614"/>
              <a:gd name="connsiteY1" fmla="*/ 2241 h 6869749"/>
              <a:gd name="connsiteX2" fmla="*/ 9150245 w 9152614"/>
              <a:gd name="connsiteY2" fmla="*/ 2241 h 6869749"/>
              <a:gd name="connsiteX3" fmla="*/ 9047851 w 9152614"/>
              <a:gd name="connsiteY3" fmla="*/ 111779 h 6869749"/>
              <a:gd name="connsiteX4" fmla="*/ 6949969 w 9152614"/>
              <a:gd name="connsiteY4" fmla="*/ 111779 h 6869749"/>
              <a:gd name="connsiteX5" fmla="*/ 6949969 w 9152614"/>
              <a:gd name="connsiteY5" fmla="*/ 1059516 h 6869749"/>
              <a:gd name="connsiteX6" fmla="*/ 9050233 w 9152614"/>
              <a:gd name="connsiteY6" fmla="*/ 1059516 h 6869749"/>
              <a:gd name="connsiteX7" fmla="*/ 9050233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47851 w 9152614"/>
              <a:gd name="connsiteY3" fmla="*/ 111779 h 6869749"/>
              <a:gd name="connsiteX4" fmla="*/ 6949969 w 9152614"/>
              <a:gd name="connsiteY4" fmla="*/ 111779 h 6869749"/>
              <a:gd name="connsiteX5" fmla="*/ 6949969 w 9152614"/>
              <a:gd name="connsiteY5" fmla="*/ 1059516 h 6869749"/>
              <a:gd name="connsiteX6" fmla="*/ 9050233 w 9152614"/>
              <a:gd name="connsiteY6" fmla="*/ 1059516 h 6869749"/>
              <a:gd name="connsiteX7" fmla="*/ 9083570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69282 w 9152614"/>
              <a:gd name="connsiteY3" fmla="*/ 114161 h 6869749"/>
              <a:gd name="connsiteX4" fmla="*/ 6949969 w 9152614"/>
              <a:gd name="connsiteY4" fmla="*/ 111779 h 6869749"/>
              <a:gd name="connsiteX5" fmla="*/ 6949969 w 9152614"/>
              <a:gd name="connsiteY5" fmla="*/ 1059516 h 6869749"/>
              <a:gd name="connsiteX6" fmla="*/ 9050233 w 9152614"/>
              <a:gd name="connsiteY6" fmla="*/ 1059516 h 6869749"/>
              <a:gd name="connsiteX7" fmla="*/ 9083570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69282 w 9152614"/>
              <a:gd name="connsiteY3" fmla="*/ 114161 h 6869749"/>
              <a:gd name="connsiteX4" fmla="*/ 6949969 w 9152614"/>
              <a:gd name="connsiteY4" fmla="*/ 111779 h 6869749"/>
              <a:gd name="connsiteX5" fmla="*/ 6949969 w 9152614"/>
              <a:gd name="connsiteY5" fmla="*/ 1059516 h 6869749"/>
              <a:gd name="connsiteX6" fmla="*/ 9050233 w 9152614"/>
              <a:gd name="connsiteY6" fmla="*/ 1059516 h 6869749"/>
              <a:gd name="connsiteX7" fmla="*/ 9050233 w 9152614"/>
              <a:gd name="connsiteY7" fmla="*/ 111780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50233 w 9152614"/>
              <a:gd name="connsiteY5" fmla="*/ 1059516 h 6869749"/>
              <a:gd name="connsiteX6" fmla="*/ 9050233 w 9152614"/>
              <a:gd name="connsiteY6" fmla="*/ 111780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50233 w 9152614"/>
              <a:gd name="connsiteY5" fmla="*/ 1059516 h 6869749"/>
              <a:gd name="connsiteX6" fmla="*/ 9076427 w 9152614"/>
              <a:gd name="connsiteY6" fmla="*/ 126067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50233 w 9152614"/>
              <a:gd name="connsiteY5" fmla="*/ 1059516 h 6869749"/>
              <a:gd name="connsiteX6" fmla="*/ 9052615 w 9152614"/>
              <a:gd name="connsiteY6" fmla="*/ 114161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50233 w 9152614"/>
              <a:gd name="connsiteY5" fmla="*/ 1059516 h 6869749"/>
              <a:gd name="connsiteX6" fmla="*/ 9093096 w 9152614"/>
              <a:gd name="connsiteY6" fmla="*/ 118924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50233 w 9152614"/>
              <a:gd name="connsiteY5" fmla="*/ 1059516 h 6869749"/>
              <a:gd name="connsiteX6" fmla="*/ 9047853 w 9152614"/>
              <a:gd name="connsiteY6" fmla="*/ 116543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47852 w 9152614"/>
              <a:gd name="connsiteY5" fmla="*/ 1095235 h 6869749"/>
              <a:gd name="connsiteX6" fmla="*/ 9047853 w 9152614"/>
              <a:gd name="connsiteY6" fmla="*/ 116543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78809 w 9152614"/>
              <a:gd name="connsiteY5" fmla="*/ 1095235 h 6869749"/>
              <a:gd name="connsiteX6" fmla="*/ 9047853 w 9152614"/>
              <a:gd name="connsiteY6" fmla="*/ 116543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9969 w 9152614"/>
              <a:gd name="connsiteY3" fmla="*/ 111779 h 6869749"/>
              <a:gd name="connsiteX4" fmla="*/ 6949969 w 9152614"/>
              <a:gd name="connsiteY4" fmla="*/ 1059516 h 6869749"/>
              <a:gd name="connsiteX5" fmla="*/ 9050234 w 9152614"/>
              <a:gd name="connsiteY5" fmla="*/ 1061898 h 6869749"/>
              <a:gd name="connsiteX6" fmla="*/ 9047853 w 9152614"/>
              <a:gd name="connsiteY6" fmla="*/ 116543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07106 w 9152614"/>
              <a:gd name="connsiteY3" fmla="*/ 57010 h 6869749"/>
              <a:gd name="connsiteX4" fmla="*/ 6949969 w 9152614"/>
              <a:gd name="connsiteY4" fmla="*/ 1059516 h 6869749"/>
              <a:gd name="connsiteX5" fmla="*/ 9050234 w 9152614"/>
              <a:gd name="connsiteY5" fmla="*/ 1061898 h 6869749"/>
              <a:gd name="connsiteX6" fmla="*/ 9047853 w 9152614"/>
              <a:gd name="connsiteY6" fmla="*/ 116543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6947588 w 9152614"/>
              <a:gd name="connsiteY3" fmla="*/ 111778 h 6869749"/>
              <a:gd name="connsiteX4" fmla="*/ 6949969 w 9152614"/>
              <a:gd name="connsiteY4" fmla="*/ 1059516 h 6869749"/>
              <a:gd name="connsiteX5" fmla="*/ 9050234 w 9152614"/>
              <a:gd name="connsiteY5" fmla="*/ 1061898 h 6869749"/>
              <a:gd name="connsiteX6" fmla="*/ 9047853 w 9152614"/>
              <a:gd name="connsiteY6" fmla="*/ 116543 h 6869749"/>
              <a:gd name="connsiteX7" fmla="*/ 9152614 w 9152614"/>
              <a:gd name="connsiteY7" fmla="*/ 0 h 6869749"/>
              <a:gd name="connsiteX8" fmla="*/ 9150246 w 9152614"/>
              <a:gd name="connsiteY8" fmla="*/ 6865003 h 6869749"/>
              <a:gd name="connsiteX9" fmla="*/ 0 w 9152614"/>
              <a:gd name="connsiteY9" fmla="*/ 6869749 h 6869749"/>
              <a:gd name="connsiteX10" fmla="*/ 6255 w 9152614"/>
              <a:gd name="connsiteY10"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8083444 w 9152614"/>
              <a:gd name="connsiteY3" fmla="*/ 57012 h 6869749"/>
              <a:gd name="connsiteX4" fmla="*/ 6947588 w 9152614"/>
              <a:gd name="connsiteY4" fmla="*/ 111778 h 6869749"/>
              <a:gd name="connsiteX5" fmla="*/ 6949969 w 9152614"/>
              <a:gd name="connsiteY5" fmla="*/ 1059516 h 6869749"/>
              <a:gd name="connsiteX6" fmla="*/ 9050234 w 9152614"/>
              <a:gd name="connsiteY6" fmla="*/ 1061898 h 6869749"/>
              <a:gd name="connsiteX7" fmla="*/ 9047853 w 9152614"/>
              <a:gd name="connsiteY7" fmla="*/ 116543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4 w 9152614"/>
              <a:gd name="connsiteY6" fmla="*/ 1061898 h 6869749"/>
              <a:gd name="connsiteX7" fmla="*/ 9047853 w 9152614"/>
              <a:gd name="connsiteY7" fmla="*/ 116543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4 w 9152614"/>
              <a:gd name="connsiteY6" fmla="*/ 1061898 h 6869749"/>
              <a:gd name="connsiteX7" fmla="*/ 9119291 w 9152614"/>
              <a:gd name="connsiteY7" fmla="*/ 159406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4 w 9152614"/>
              <a:gd name="connsiteY6" fmla="*/ 1061898 h 6869749"/>
              <a:gd name="connsiteX7" fmla="*/ 9119291 w 9152614"/>
              <a:gd name="connsiteY7" fmla="*/ 159406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4 w 9152614"/>
              <a:gd name="connsiteY6" fmla="*/ 1061898 h 6869749"/>
              <a:gd name="connsiteX7" fmla="*/ 9050235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93097 w 9152614"/>
              <a:gd name="connsiteY6" fmla="*/ 1107142 h 6869749"/>
              <a:gd name="connsiteX7" fmla="*/ 9050235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93097 w 9152614"/>
              <a:gd name="connsiteY6" fmla="*/ 1107142 h 6869749"/>
              <a:gd name="connsiteX7" fmla="*/ 9050235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5 w 9152614"/>
              <a:gd name="connsiteY6" fmla="*/ 1061898 h 6869749"/>
              <a:gd name="connsiteX7" fmla="*/ 9050235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5 w 9152614"/>
              <a:gd name="connsiteY6" fmla="*/ 1061898 h 6869749"/>
              <a:gd name="connsiteX7" fmla="*/ 9033567 w 9152614"/>
              <a:gd name="connsiteY7" fmla="*/ 83205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5 w 9152614"/>
              <a:gd name="connsiteY6" fmla="*/ 1061898 h 6869749"/>
              <a:gd name="connsiteX7" fmla="*/ 9033567 w 9152614"/>
              <a:gd name="connsiteY7" fmla="*/ 83205 h 6869749"/>
              <a:gd name="connsiteX8" fmla="*/ 9095475 w 9152614"/>
              <a:gd name="connsiteY8" fmla="*/ 35581 h 6869749"/>
              <a:gd name="connsiteX9" fmla="*/ 9152614 w 9152614"/>
              <a:gd name="connsiteY9" fmla="*/ 0 h 6869749"/>
              <a:gd name="connsiteX10" fmla="*/ 9150246 w 9152614"/>
              <a:gd name="connsiteY10" fmla="*/ 6865003 h 6869749"/>
              <a:gd name="connsiteX11" fmla="*/ 0 w 9152614"/>
              <a:gd name="connsiteY11" fmla="*/ 6869749 h 6869749"/>
              <a:gd name="connsiteX12" fmla="*/ 6255 w 9152614"/>
              <a:gd name="connsiteY12"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85950 w 9152614"/>
              <a:gd name="connsiteY3" fmla="*/ 73681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33567 w 9152614"/>
              <a:gd name="connsiteY8" fmla="*/ 83205 h 6869749"/>
              <a:gd name="connsiteX9" fmla="*/ 9095475 w 9152614"/>
              <a:gd name="connsiteY9" fmla="*/ 35581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28812 w 9152614"/>
              <a:gd name="connsiteY3" fmla="*/ 78443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33567 w 9152614"/>
              <a:gd name="connsiteY8" fmla="*/ 83205 h 6869749"/>
              <a:gd name="connsiteX9" fmla="*/ 9095475 w 9152614"/>
              <a:gd name="connsiteY9" fmla="*/ 35581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28812 w 9152614"/>
              <a:gd name="connsiteY3" fmla="*/ 78443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107386 w 9152614"/>
              <a:gd name="connsiteY8" fmla="*/ 180837 h 6869749"/>
              <a:gd name="connsiteX9" fmla="*/ 9095475 w 9152614"/>
              <a:gd name="connsiteY9" fmla="*/ 35581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28812 w 9152614"/>
              <a:gd name="connsiteY3" fmla="*/ 78443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50236 w 9152614"/>
              <a:gd name="connsiteY8" fmla="*/ 104637 h 6869749"/>
              <a:gd name="connsiteX9" fmla="*/ 9095475 w 9152614"/>
              <a:gd name="connsiteY9" fmla="*/ 35581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28812 w 9152614"/>
              <a:gd name="connsiteY3" fmla="*/ 78443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50236 w 9152614"/>
              <a:gd name="connsiteY8" fmla="*/ 109399 h 6869749"/>
              <a:gd name="connsiteX9" fmla="*/ 9095475 w 9152614"/>
              <a:gd name="connsiteY9" fmla="*/ 35581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07381 w 9152614"/>
              <a:gd name="connsiteY3" fmla="*/ 57012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50236 w 9152614"/>
              <a:gd name="connsiteY8" fmla="*/ 109399 h 6869749"/>
              <a:gd name="connsiteX9" fmla="*/ 9095475 w 9152614"/>
              <a:gd name="connsiteY9" fmla="*/ 35581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07381 w 9152614"/>
              <a:gd name="connsiteY3" fmla="*/ 57012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50236 w 9152614"/>
              <a:gd name="connsiteY8" fmla="*/ 109399 h 6869749"/>
              <a:gd name="connsiteX9" fmla="*/ 9109763 w 9152614"/>
              <a:gd name="connsiteY9" fmla="*/ 59393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07381 w 9152614"/>
              <a:gd name="connsiteY3" fmla="*/ 57012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50236 w 9152614"/>
              <a:gd name="connsiteY8" fmla="*/ 109399 h 6869749"/>
              <a:gd name="connsiteX9" fmla="*/ 9114525 w 9152614"/>
              <a:gd name="connsiteY9" fmla="*/ 107018 h 6869749"/>
              <a:gd name="connsiteX10" fmla="*/ 9152614 w 9152614"/>
              <a:gd name="connsiteY10" fmla="*/ 0 h 6869749"/>
              <a:gd name="connsiteX11" fmla="*/ 9150246 w 9152614"/>
              <a:gd name="connsiteY11" fmla="*/ 6865003 h 6869749"/>
              <a:gd name="connsiteX12" fmla="*/ 0 w 9152614"/>
              <a:gd name="connsiteY12" fmla="*/ 6869749 h 6869749"/>
              <a:gd name="connsiteX13" fmla="*/ 6255 w 9152614"/>
              <a:gd name="connsiteY13"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107381 w 9152614"/>
              <a:gd name="connsiteY3" fmla="*/ 57012 h 6869749"/>
              <a:gd name="connsiteX4" fmla="*/ 9052612 w 9152614"/>
              <a:gd name="connsiteY4" fmla="*/ 111781 h 6869749"/>
              <a:gd name="connsiteX5" fmla="*/ 6947588 w 9152614"/>
              <a:gd name="connsiteY5" fmla="*/ 111778 h 6869749"/>
              <a:gd name="connsiteX6" fmla="*/ 6949969 w 9152614"/>
              <a:gd name="connsiteY6" fmla="*/ 1059516 h 6869749"/>
              <a:gd name="connsiteX7" fmla="*/ 9050235 w 9152614"/>
              <a:gd name="connsiteY7" fmla="*/ 1061898 h 6869749"/>
              <a:gd name="connsiteX8" fmla="*/ 9050236 w 9152614"/>
              <a:gd name="connsiteY8" fmla="*/ 109399 h 6869749"/>
              <a:gd name="connsiteX9" fmla="*/ 9152614 w 9152614"/>
              <a:gd name="connsiteY9" fmla="*/ 0 h 6869749"/>
              <a:gd name="connsiteX10" fmla="*/ 9150246 w 9152614"/>
              <a:gd name="connsiteY10" fmla="*/ 6865003 h 6869749"/>
              <a:gd name="connsiteX11" fmla="*/ 0 w 9152614"/>
              <a:gd name="connsiteY11" fmla="*/ 6869749 h 6869749"/>
              <a:gd name="connsiteX12" fmla="*/ 6255 w 9152614"/>
              <a:gd name="connsiteY12"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5 w 9152614"/>
              <a:gd name="connsiteY6" fmla="*/ 1061898 h 6869749"/>
              <a:gd name="connsiteX7" fmla="*/ 9050236 w 9152614"/>
              <a:gd name="connsiteY7" fmla="*/ 109399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50235 w 9152614"/>
              <a:gd name="connsiteY6" fmla="*/ 1061898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76428 w 9152614"/>
              <a:gd name="connsiteY6" fmla="*/ 1090473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76428 w 9152614"/>
              <a:gd name="connsiteY6" fmla="*/ 1090473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9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28537 w 9152614"/>
              <a:gd name="connsiteY5" fmla="*/ 1090472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28537 w 9152614"/>
              <a:gd name="connsiteY5" fmla="*/ 1090472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7587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09487 w 9152614"/>
              <a:gd name="connsiteY5" fmla="*/ 1099997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09487 w 9152614"/>
              <a:gd name="connsiteY5" fmla="*/ 1099997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14250 w 9152614"/>
              <a:gd name="connsiteY4" fmla="*/ 68916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14250 w 9152614"/>
              <a:gd name="connsiteY4" fmla="*/ 68916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7588 w 9152614"/>
              <a:gd name="connsiteY4" fmla="*/ 111778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11869 w 9152614"/>
              <a:gd name="connsiteY4" fmla="*/ 95109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11869 w 9152614"/>
              <a:gd name="connsiteY4" fmla="*/ 95109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949968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823761 w 9152614"/>
              <a:gd name="connsiteY5" fmla="*/ 1073804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823761 w 9152614"/>
              <a:gd name="connsiteY5" fmla="*/ 1073804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854719 w 9152614"/>
              <a:gd name="connsiteY4" fmla="*/ 59390 h 6869749"/>
              <a:gd name="connsiteX5" fmla="*/ 6952349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854719 w 9152614"/>
              <a:gd name="connsiteY4" fmla="*/ 59390 h 6869749"/>
              <a:gd name="connsiteX5" fmla="*/ 6952349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50236 w 9152614"/>
              <a:gd name="connsiteY7" fmla="*/ 11178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52612 w 9152614"/>
              <a:gd name="connsiteY3" fmla="*/ 111781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85954 w 9152614"/>
              <a:gd name="connsiteY7" fmla="*/ 13083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28799 w 9152614"/>
              <a:gd name="connsiteY3" fmla="*/ 59394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85954 w 9152614"/>
              <a:gd name="connsiteY7" fmla="*/ 13083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28799 w 9152614"/>
              <a:gd name="connsiteY3" fmla="*/ 59394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85954 w 9152614"/>
              <a:gd name="connsiteY7" fmla="*/ 130831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28799 w 9152614"/>
              <a:gd name="connsiteY3" fmla="*/ 59394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47854 w 9152614"/>
              <a:gd name="connsiteY7" fmla="*/ 116544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9150245 w 9152614"/>
              <a:gd name="connsiteY2" fmla="*/ 2241 h 6869749"/>
              <a:gd name="connsiteX3" fmla="*/ 9047849 w 9152614"/>
              <a:gd name="connsiteY3" fmla="*/ 116544 h 6869749"/>
              <a:gd name="connsiteX4" fmla="*/ 6949969 w 9152614"/>
              <a:gd name="connsiteY4" fmla="*/ 114159 h 6869749"/>
              <a:gd name="connsiteX5" fmla="*/ 6952349 w 9152614"/>
              <a:gd name="connsiteY5" fmla="*/ 1059516 h 6869749"/>
              <a:gd name="connsiteX6" fmla="*/ 9047853 w 9152614"/>
              <a:gd name="connsiteY6" fmla="*/ 1059516 h 6869749"/>
              <a:gd name="connsiteX7" fmla="*/ 9047854 w 9152614"/>
              <a:gd name="connsiteY7" fmla="*/ 116544 h 6869749"/>
              <a:gd name="connsiteX8" fmla="*/ 9152614 w 9152614"/>
              <a:gd name="connsiteY8" fmla="*/ 0 h 6869749"/>
              <a:gd name="connsiteX9" fmla="*/ 9150246 w 9152614"/>
              <a:gd name="connsiteY9" fmla="*/ 6865003 h 6869749"/>
              <a:gd name="connsiteX10" fmla="*/ 0 w 9152614"/>
              <a:gd name="connsiteY10" fmla="*/ 6869749 h 6869749"/>
              <a:gd name="connsiteX11" fmla="*/ 6255 w 9152614"/>
              <a:gd name="connsiteY11" fmla="*/ 2382 h 6869749"/>
              <a:gd name="connsiteX0" fmla="*/ 6255 w 9152614"/>
              <a:gd name="connsiteY0" fmla="*/ 2382 h 6869749"/>
              <a:gd name="connsiteX1" fmla="*/ 4578245 w 9152614"/>
              <a:gd name="connsiteY1" fmla="*/ 2241 h 6869749"/>
              <a:gd name="connsiteX2" fmla="*/ 8645419 w 9152614"/>
              <a:gd name="connsiteY2" fmla="*/ 2243 h 6869749"/>
              <a:gd name="connsiteX3" fmla="*/ 9150245 w 9152614"/>
              <a:gd name="connsiteY3" fmla="*/ 2241 h 6869749"/>
              <a:gd name="connsiteX4" fmla="*/ 9047849 w 9152614"/>
              <a:gd name="connsiteY4" fmla="*/ 116544 h 6869749"/>
              <a:gd name="connsiteX5" fmla="*/ 6949969 w 9152614"/>
              <a:gd name="connsiteY5" fmla="*/ 114159 h 6869749"/>
              <a:gd name="connsiteX6" fmla="*/ 6952349 w 9152614"/>
              <a:gd name="connsiteY6" fmla="*/ 1059516 h 6869749"/>
              <a:gd name="connsiteX7" fmla="*/ 9047853 w 9152614"/>
              <a:gd name="connsiteY7" fmla="*/ 1059516 h 6869749"/>
              <a:gd name="connsiteX8" fmla="*/ 9047854 w 9152614"/>
              <a:gd name="connsiteY8" fmla="*/ 116544 h 6869749"/>
              <a:gd name="connsiteX9" fmla="*/ 9152614 w 9152614"/>
              <a:gd name="connsiteY9" fmla="*/ 0 h 6869749"/>
              <a:gd name="connsiteX10" fmla="*/ 9150246 w 9152614"/>
              <a:gd name="connsiteY10" fmla="*/ 6865003 h 6869749"/>
              <a:gd name="connsiteX11" fmla="*/ 0 w 9152614"/>
              <a:gd name="connsiteY11" fmla="*/ 6869749 h 6869749"/>
              <a:gd name="connsiteX12" fmla="*/ 6255 w 9152614"/>
              <a:gd name="connsiteY12" fmla="*/ 2382 h 6869749"/>
              <a:gd name="connsiteX0" fmla="*/ 6255 w 9152614"/>
              <a:gd name="connsiteY0" fmla="*/ 4901 h 6872268"/>
              <a:gd name="connsiteX1" fmla="*/ 4578245 w 9152614"/>
              <a:gd name="connsiteY1" fmla="*/ 4760 h 6872268"/>
              <a:gd name="connsiteX2" fmla="*/ 9150244 w 9152614"/>
              <a:gd name="connsiteY2" fmla="*/ 0 h 6872268"/>
              <a:gd name="connsiteX3" fmla="*/ 9150245 w 9152614"/>
              <a:gd name="connsiteY3" fmla="*/ 4760 h 6872268"/>
              <a:gd name="connsiteX4" fmla="*/ 9047849 w 9152614"/>
              <a:gd name="connsiteY4" fmla="*/ 119063 h 6872268"/>
              <a:gd name="connsiteX5" fmla="*/ 6949969 w 9152614"/>
              <a:gd name="connsiteY5" fmla="*/ 116678 h 6872268"/>
              <a:gd name="connsiteX6" fmla="*/ 6952349 w 9152614"/>
              <a:gd name="connsiteY6" fmla="*/ 1062035 h 6872268"/>
              <a:gd name="connsiteX7" fmla="*/ 9047853 w 9152614"/>
              <a:gd name="connsiteY7" fmla="*/ 1062035 h 6872268"/>
              <a:gd name="connsiteX8" fmla="*/ 9047854 w 9152614"/>
              <a:gd name="connsiteY8" fmla="*/ 119063 h 6872268"/>
              <a:gd name="connsiteX9" fmla="*/ 9152614 w 9152614"/>
              <a:gd name="connsiteY9" fmla="*/ 2519 h 6872268"/>
              <a:gd name="connsiteX10" fmla="*/ 9150246 w 9152614"/>
              <a:gd name="connsiteY10" fmla="*/ 6867522 h 6872268"/>
              <a:gd name="connsiteX11" fmla="*/ 0 w 9152614"/>
              <a:gd name="connsiteY11" fmla="*/ 6872268 h 6872268"/>
              <a:gd name="connsiteX12" fmla="*/ 6255 w 9152614"/>
              <a:gd name="connsiteY12" fmla="*/ 4901 h 6872268"/>
              <a:gd name="connsiteX0" fmla="*/ 3874 w 9152614"/>
              <a:gd name="connsiteY0" fmla="*/ 2520 h 6872268"/>
              <a:gd name="connsiteX1" fmla="*/ 4578245 w 9152614"/>
              <a:gd name="connsiteY1" fmla="*/ 4760 h 6872268"/>
              <a:gd name="connsiteX2" fmla="*/ 9150244 w 9152614"/>
              <a:gd name="connsiteY2" fmla="*/ 0 h 6872268"/>
              <a:gd name="connsiteX3" fmla="*/ 9150245 w 9152614"/>
              <a:gd name="connsiteY3" fmla="*/ 4760 h 6872268"/>
              <a:gd name="connsiteX4" fmla="*/ 9047849 w 9152614"/>
              <a:gd name="connsiteY4" fmla="*/ 119063 h 6872268"/>
              <a:gd name="connsiteX5" fmla="*/ 6949969 w 9152614"/>
              <a:gd name="connsiteY5" fmla="*/ 116678 h 6872268"/>
              <a:gd name="connsiteX6" fmla="*/ 6952349 w 9152614"/>
              <a:gd name="connsiteY6" fmla="*/ 1062035 h 6872268"/>
              <a:gd name="connsiteX7" fmla="*/ 9047853 w 9152614"/>
              <a:gd name="connsiteY7" fmla="*/ 1062035 h 6872268"/>
              <a:gd name="connsiteX8" fmla="*/ 9047854 w 9152614"/>
              <a:gd name="connsiteY8" fmla="*/ 119063 h 6872268"/>
              <a:gd name="connsiteX9" fmla="*/ 9152614 w 9152614"/>
              <a:gd name="connsiteY9" fmla="*/ 2519 h 6872268"/>
              <a:gd name="connsiteX10" fmla="*/ 9150246 w 9152614"/>
              <a:gd name="connsiteY10" fmla="*/ 6867522 h 6872268"/>
              <a:gd name="connsiteX11" fmla="*/ 0 w 9152614"/>
              <a:gd name="connsiteY11" fmla="*/ 6872268 h 6872268"/>
              <a:gd name="connsiteX12" fmla="*/ 3874 w 9152614"/>
              <a:gd name="connsiteY12" fmla="*/ 2520 h 6872268"/>
              <a:gd name="connsiteX0" fmla="*/ 12187 w 9160927"/>
              <a:gd name="connsiteY0" fmla="*/ 2520 h 6880580"/>
              <a:gd name="connsiteX1" fmla="*/ 4586558 w 9160927"/>
              <a:gd name="connsiteY1" fmla="*/ 4760 h 6880580"/>
              <a:gd name="connsiteX2" fmla="*/ 9158557 w 9160927"/>
              <a:gd name="connsiteY2" fmla="*/ 0 h 6880580"/>
              <a:gd name="connsiteX3" fmla="*/ 9158558 w 9160927"/>
              <a:gd name="connsiteY3" fmla="*/ 4760 h 6880580"/>
              <a:gd name="connsiteX4" fmla="*/ 9056162 w 9160927"/>
              <a:gd name="connsiteY4" fmla="*/ 119063 h 6880580"/>
              <a:gd name="connsiteX5" fmla="*/ 6958282 w 9160927"/>
              <a:gd name="connsiteY5" fmla="*/ 116678 h 6880580"/>
              <a:gd name="connsiteX6" fmla="*/ 6960662 w 9160927"/>
              <a:gd name="connsiteY6" fmla="*/ 1062035 h 6880580"/>
              <a:gd name="connsiteX7" fmla="*/ 9056166 w 9160927"/>
              <a:gd name="connsiteY7" fmla="*/ 1062035 h 6880580"/>
              <a:gd name="connsiteX8" fmla="*/ 9056167 w 9160927"/>
              <a:gd name="connsiteY8" fmla="*/ 119063 h 6880580"/>
              <a:gd name="connsiteX9" fmla="*/ 9160927 w 9160927"/>
              <a:gd name="connsiteY9" fmla="*/ 2519 h 6880580"/>
              <a:gd name="connsiteX10" fmla="*/ 9158559 w 9160927"/>
              <a:gd name="connsiteY10" fmla="*/ 6867522 h 6880580"/>
              <a:gd name="connsiteX11" fmla="*/ 0 w 9160927"/>
              <a:gd name="connsiteY11" fmla="*/ 6880580 h 6880580"/>
              <a:gd name="connsiteX12" fmla="*/ 12187 w 9160927"/>
              <a:gd name="connsiteY12" fmla="*/ 2520 h 6880580"/>
              <a:gd name="connsiteX0" fmla="*/ 12187 w 9175212"/>
              <a:gd name="connsiteY0" fmla="*/ 2520 h 6880580"/>
              <a:gd name="connsiteX1" fmla="*/ 4586558 w 9175212"/>
              <a:gd name="connsiteY1" fmla="*/ 4760 h 6880580"/>
              <a:gd name="connsiteX2" fmla="*/ 9158557 w 9175212"/>
              <a:gd name="connsiteY2" fmla="*/ 0 h 6880580"/>
              <a:gd name="connsiteX3" fmla="*/ 9158558 w 9175212"/>
              <a:gd name="connsiteY3" fmla="*/ 4760 h 6880580"/>
              <a:gd name="connsiteX4" fmla="*/ 9056162 w 9175212"/>
              <a:gd name="connsiteY4" fmla="*/ 119063 h 6880580"/>
              <a:gd name="connsiteX5" fmla="*/ 6958282 w 9175212"/>
              <a:gd name="connsiteY5" fmla="*/ 116678 h 6880580"/>
              <a:gd name="connsiteX6" fmla="*/ 6960662 w 9175212"/>
              <a:gd name="connsiteY6" fmla="*/ 1062035 h 6880580"/>
              <a:gd name="connsiteX7" fmla="*/ 9056166 w 9175212"/>
              <a:gd name="connsiteY7" fmla="*/ 1062035 h 6880580"/>
              <a:gd name="connsiteX8" fmla="*/ 9056167 w 9175212"/>
              <a:gd name="connsiteY8" fmla="*/ 119063 h 6880580"/>
              <a:gd name="connsiteX9" fmla="*/ 9160927 w 9175212"/>
              <a:gd name="connsiteY9" fmla="*/ 2519 h 6880580"/>
              <a:gd name="connsiteX10" fmla="*/ 9175184 w 9175212"/>
              <a:gd name="connsiteY10" fmla="*/ 6875835 h 6880580"/>
              <a:gd name="connsiteX11" fmla="*/ 0 w 9175212"/>
              <a:gd name="connsiteY11" fmla="*/ 6880580 h 6880580"/>
              <a:gd name="connsiteX12" fmla="*/ 12187 w 9175212"/>
              <a:gd name="connsiteY12" fmla="*/ 2520 h 6880580"/>
              <a:gd name="connsiteX0" fmla="*/ 12187 w 9849834"/>
              <a:gd name="connsiteY0" fmla="*/ 343708 h 7221768"/>
              <a:gd name="connsiteX1" fmla="*/ 4586558 w 9849834"/>
              <a:gd name="connsiteY1" fmla="*/ 345948 h 7221768"/>
              <a:gd name="connsiteX2" fmla="*/ 9158557 w 9849834"/>
              <a:gd name="connsiteY2" fmla="*/ 341188 h 7221768"/>
              <a:gd name="connsiteX3" fmla="*/ 9158558 w 9849834"/>
              <a:gd name="connsiteY3" fmla="*/ 345948 h 7221768"/>
              <a:gd name="connsiteX4" fmla="*/ 9056162 w 9849834"/>
              <a:gd name="connsiteY4" fmla="*/ 460251 h 7221768"/>
              <a:gd name="connsiteX5" fmla="*/ 6958282 w 9849834"/>
              <a:gd name="connsiteY5" fmla="*/ 457866 h 7221768"/>
              <a:gd name="connsiteX6" fmla="*/ 6960662 w 9849834"/>
              <a:gd name="connsiteY6" fmla="*/ 1403223 h 7221768"/>
              <a:gd name="connsiteX7" fmla="*/ 9056166 w 9849834"/>
              <a:gd name="connsiteY7" fmla="*/ 1403223 h 7221768"/>
              <a:gd name="connsiteX8" fmla="*/ 9056167 w 9849834"/>
              <a:gd name="connsiteY8" fmla="*/ 460251 h 7221768"/>
              <a:gd name="connsiteX9" fmla="*/ 9160927 w 9849834"/>
              <a:gd name="connsiteY9" fmla="*/ 343707 h 7221768"/>
              <a:gd name="connsiteX10" fmla="*/ 9158557 w 9849834"/>
              <a:gd name="connsiteY10" fmla="*/ 570394 h 7221768"/>
              <a:gd name="connsiteX11" fmla="*/ 9175184 w 9849834"/>
              <a:gd name="connsiteY11" fmla="*/ 7217023 h 7221768"/>
              <a:gd name="connsiteX12" fmla="*/ 0 w 9849834"/>
              <a:gd name="connsiteY12" fmla="*/ 7221768 h 7221768"/>
              <a:gd name="connsiteX13" fmla="*/ 12187 w 9849834"/>
              <a:gd name="connsiteY13" fmla="*/ 343708 h 7221768"/>
              <a:gd name="connsiteX0" fmla="*/ 12187 w 9175184"/>
              <a:gd name="connsiteY0" fmla="*/ 343708 h 7221768"/>
              <a:gd name="connsiteX1" fmla="*/ 4586558 w 9175184"/>
              <a:gd name="connsiteY1" fmla="*/ 345948 h 7221768"/>
              <a:gd name="connsiteX2" fmla="*/ 9158557 w 9175184"/>
              <a:gd name="connsiteY2" fmla="*/ 341188 h 7221768"/>
              <a:gd name="connsiteX3" fmla="*/ 9158558 w 9175184"/>
              <a:gd name="connsiteY3" fmla="*/ 345948 h 7221768"/>
              <a:gd name="connsiteX4" fmla="*/ 9056162 w 9175184"/>
              <a:gd name="connsiteY4" fmla="*/ 460251 h 7221768"/>
              <a:gd name="connsiteX5" fmla="*/ 6958282 w 9175184"/>
              <a:gd name="connsiteY5" fmla="*/ 457866 h 7221768"/>
              <a:gd name="connsiteX6" fmla="*/ 6960662 w 9175184"/>
              <a:gd name="connsiteY6" fmla="*/ 1403223 h 7221768"/>
              <a:gd name="connsiteX7" fmla="*/ 9056166 w 9175184"/>
              <a:gd name="connsiteY7" fmla="*/ 1403223 h 7221768"/>
              <a:gd name="connsiteX8" fmla="*/ 9056167 w 9175184"/>
              <a:gd name="connsiteY8" fmla="*/ 460251 h 7221768"/>
              <a:gd name="connsiteX9" fmla="*/ 9160927 w 9175184"/>
              <a:gd name="connsiteY9" fmla="*/ 343707 h 7221768"/>
              <a:gd name="connsiteX10" fmla="*/ 9158557 w 9175184"/>
              <a:gd name="connsiteY10" fmla="*/ 570394 h 7221768"/>
              <a:gd name="connsiteX11" fmla="*/ 9175184 w 9175184"/>
              <a:gd name="connsiteY11" fmla="*/ 7217023 h 7221768"/>
              <a:gd name="connsiteX12" fmla="*/ 0 w 9175184"/>
              <a:gd name="connsiteY12" fmla="*/ 7221768 h 7221768"/>
              <a:gd name="connsiteX13" fmla="*/ 12187 w 9175184"/>
              <a:gd name="connsiteY13" fmla="*/ 343708 h 7221768"/>
              <a:gd name="connsiteX0" fmla="*/ 12187 w 9865171"/>
              <a:gd name="connsiteY0" fmla="*/ 99019 h 6977079"/>
              <a:gd name="connsiteX1" fmla="*/ 4586558 w 9865171"/>
              <a:gd name="connsiteY1" fmla="*/ 101259 h 6977079"/>
              <a:gd name="connsiteX2" fmla="*/ 9158557 w 9865171"/>
              <a:gd name="connsiteY2" fmla="*/ 96499 h 6977079"/>
              <a:gd name="connsiteX3" fmla="*/ 9158558 w 9865171"/>
              <a:gd name="connsiteY3" fmla="*/ 101259 h 6977079"/>
              <a:gd name="connsiteX4" fmla="*/ 9056162 w 9865171"/>
              <a:gd name="connsiteY4" fmla="*/ 215562 h 6977079"/>
              <a:gd name="connsiteX5" fmla="*/ 6958282 w 9865171"/>
              <a:gd name="connsiteY5" fmla="*/ 213177 h 6977079"/>
              <a:gd name="connsiteX6" fmla="*/ 6960662 w 9865171"/>
              <a:gd name="connsiteY6" fmla="*/ 1158534 h 6977079"/>
              <a:gd name="connsiteX7" fmla="*/ 9056166 w 9865171"/>
              <a:gd name="connsiteY7" fmla="*/ 1158534 h 6977079"/>
              <a:gd name="connsiteX8" fmla="*/ 9056167 w 9865171"/>
              <a:gd name="connsiteY8" fmla="*/ 215562 h 6977079"/>
              <a:gd name="connsiteX9" fmla="*/ 9160927 w 9865171"/>
              <a:gd name="connsiteY9" fmla="*/ 99018 h 6977079"/>
              <a:gd name="connsiteX10" fmla="*/ 9865139 w 9865171"/>
              <a:gd name="connsiteY10" fmla="*/ 749654 h 6977079"/>
              <a:gd name="connsiteX11" fmla="*/ 9175184 w 9865171"/>
              <a:gd name="connsiteY11" fmla="*/ 6972334 h 6977079"/>
              <a:gd name="connsiteX12" fmla="*/ 0 w 9865171"/>
              <a:gd name="connsiteY12" fmla="*/ 6977079 h 6977079"/>
              <a:gd name="connsiteX13" fmla="*/ 12187 w 9865171"/>
              <a:gd name="connsiteY13" fmla="*/ 99019 h 6977079"/>
              <a:gd name="connsiteX0" fmla="*/ 12187 w 9865171"/>
              <a:gd name="connsiteY0" fmla="*/ 2520 h 6880580"/>
              <a:gd name="connsiteX1" fmla="*/ 4586558 w 9865171"/>
              <a:gd name="connsiteY1" fmla="*/ 4760 h 6880580"/>
              <a:gd name="connsiteX2" fmla="*/ 9158557 w 9865171"/>
              <a:gd name="connsiteY2" fmla="*/ 0 h 6880580"/>
              <a:gd name="connsiteX3" fmla="*/ 9158558 w 9865171"/>
              <a:gd name="connsiteY3" fmla="*/ 4760 h 6880580"/>
              <a:gd name="connsiteX4" fmla="*/ 9056162 w 9865171"/>
              <a:gd name="connsiteY4" fmla="*/ 119063 h 6880580"/>
              <a:gd name="connsiteX5" fmla="*/ 6958282 w 9865171"/>
              <a:gd name="connsiteY5" fmla="*/ 116678 h 6880580"/>
              <a:gd name="connsiteX6" fmla="*/ 6960662 w 9865171"/>
              <a:gd name="connsiteY6" fmla="*/ 1062035 h 6880580"/>
              <a:gd name="connsiteX7" fmla="*/ 9056166 w 9865171"/>
              <a:gd name="connsiteY7" fmla="*/ 1062035 h 6880580"/>
              <a:gd name="connsiteX8" fmla="*/ 9056167 w 9865171"/>
              <a:gd name="connsiteY8" fmla="*/ 119063 h 6880580"/>
              <a:gd name="connsiteX9" fmla="*/ 9160927 w 9865171"/>
              <a:gd name="connsiteY9" fmla="*/ 2519 h 6880580"/>
              <a:gd name="connsiteX10" fmla="*/ 9865139 w 9865171"/>
              <a:gd name="connsiteY10" fmla="*/ 653155 h 6880580"/>
              <a:gd name="connsiteX11" fmla="*/ 9175184 w 9865171"/>
              <a:gd name="connsiteY11" fmla="*/ 6875835 h 6880580"/>
              <a:gd name="connsiteX12" fmla="*/ 0 w 9865171"/>
              <a:gd name="connsiteY12" fmla="*/ 6880580 h 6880580"/>
              <a:gd name="connsiteX13" fmla="*/ 12187 w 9865171"/>
              <a:gd name="connsiteY13" fmla="*/ 2520 h 6880580"/>
              <a:gd name="connsiteX0" fmla="*/ 12187 w 9865139"/>
              <a:gd name="connsiteY0" fmla="*/ 2520 h 6880580"/>
              <a:gd name="connsiteX1" fmla="*/ 4586558 w 9865139"/>
              <a:gd name="connsiteY1" fmla="*/ 4760 h 6880580"/>
              <a:gd name="connsiteX2" fmla="*/ 9158557 w 9865139"/>
              <a:gd name="connsiteY2" fmla="*/ 0 h 6880580"/>
              <a:gd name="connsiteX3" fmla="*/ 9158558 w 9865139"/>
              <a:gd name="connsiteY3" fmla="*/ 4760 h 6880580"/>
              <a:gd name="connsiteX4" fmla="*/ 9056162 w 9865139"/>
              <a:gd name="connsiteY4" fmla="*/ 119063 h 6880580"/>
              <a:gd name="connsiteX5" fmla="*/ 6958282 w 9865139"/>
              <a:gd name="connsiteY5" fmla="*/ 116678 h 6880580"/>
              <a:gd name="connsiteX6" fmla="*/ 6960662 w 9865139"/>
              <a:gd name="connsiteY6" fmla="*/ 1062035 h 6880580"/>
              <a:gd name="connsiteX7" fmla="*/ 9056166 w 9865139"/>
              <a:gd name="connsiteY7" fmla="*/ 1062035 h 6880580"/>
              <a:gd name="connsiteX8" fmla="*/ 9056167 w 9865139"/>
              <a:gd name="connsiteY8" fmla="*/ 119063 h 6880580"/>
              <a:gd name="connsiteX9" fmla="*/ 9160927 w 9865139"/>
              <a:gd name="connsiteY9" fmla="*/ 2519 h 6880580"/>
              <a:gd name="connsiteX10" fmla="*/ 9865139 w 9865139"/>
              <a:gd name="connsiteY10" fmla="*/ 653155 h 6880580"/>
              <a:gd name="connsiteX11" fmla="*/ 9175184 w 9865139"/>
              <a:gd name="connsiteY11" fmla="*/ 6875835 h 6880580"/>
              <a:gd name="connsiteX12" fmla="*/ 0 w 9865139"/>
              <a:gd name="connsiteY12" fmla="*/ 6880580 h 6880580"/>
              <a:gd name="connsiteX13" fmla="*/ 12187 w 9865139"/>
              <a:gd name="connsiteY13" fmla="*/ 2520 h 6880580"/>
              <a:gd name="connsiteX0" fmla="*/ 12187 w 9175184"/>
              <a:gd name="connsiteY0" fmla="*/ 2520 h 6880580"/>
              <a:gd name="connsiteX1" fmla="*/ 4586558 w 9175184"/>
              <a:gd name="connsiteY1" fmla="*/ 4760 h 6880580"/>
              <a:gd name="connsiteX2" fmla="*/ 9158557 w 9175184"/>
              <a:gd name="connsiteY2" fmla="*/ 0 h 6880580"/>
              <a:gd name="connsiteX3" fmla="*/ 9158558 w 9175184"/>
              <a:gd name="connsiteY3" fmla="*/ 4760 h 6880580"/>
              <a:gd name="connsiteX4" fmla="*/ 9056162 w 9175184"/>
              <a:gd name="connsiteY4" fmla="*/ 119063 h 6880580"/>
              <a:gd name="connsiteX5" fmla="*/ 6958282 w 9175184"/>
              <a:gd name="connsiteY5" fmla="*/ 116678 h 6880580"/>
              <a:gd name="connsiteX6" fmla="*/ 6960662 w 9175184"/>
              <a:gd name="connsiteY6" fmla="*/ 1062035 h 6880580"/>
              <a:gd name="connsiteX7" fmla="*/ 9056166 w 9175184"/>
              <a:gd name="connsiteY7" fmla="*/ 1062035 h 6880580"/>
              <a:gd name="connsiteX8" fmla="*/ 9056167 w 9175184"/>
              <a:gd name="connsiteY8" fmla="*/ 119063 h 6880580"/>
              <a:gd name="connsiteX9" fmla="*/ 9160927 w 9175184"/>
              <a:gd name="connsiteY9" fmla="*/ 2519 h 6880580"/>
              <a:gd name="connsiteX10" fmla="*/ 9175182 w 9175184"/>
              <a:gd name="connsiteY10" fmla="*/ 96202 h 6880580"/>
              <a:gd name="connsiteX11" fmla="*/ 9175184 w 9175184"/>
              <a:gd name="connsiteY11" fmla="*/ 6875835 h 6880580"/>
              <a:gd name="connsiteX12" fmla="*/ 0 w 9175184"/>
              <a:gd name="connsiteY12" fmla="*/ 6880580 h 6880580"/>
              <a:gd name="connsiteX13" fmla="*/ 12187 w 9175184"/>
              <a:gd name="connsiteY13" fmla="*/ 2520 h 6880580"/>
              <a:gd name="connsiteX0" fmla="*/ 12187 w 9333124"/>
              <a:gd name="connsiteY0" fmla="*/ 2520 h 6880580"/>
              <a:gd name="connsiteX1" fmla="*/ 4586558 w 9333124"/>
              <a:gd name="connsiteY1" fmla="*/ 4760 h 6880580"/>
              <a:gd name="connsiteX2" fmla="*/ 9158557 w 9333124"/>
              <a:gd name="connsiteY2" fmla="*/ 0 h 6880580"/>
              <a:gd name="connsiteX3" fmla="*/ 9158558 w 9333124"/>
              <a:gd name="connsiteY3" fmla="*/ 4760 h 6880580"/>
              <a:gd name="connsiteX4" fmla="*/ 9056162 w 9333124"/>
              <a:gd name="connsiteY4" fmla="*/ 119063 h 6880580"/>
              <a:gd name="connsiteX5" fmla="*/ 6958282 w 9333124"/>
              <a:gd name="connsiteY5" fmla="*/ 116678 h 6880580"/>
              <a:gd name="connsiteX6" fmla="*/ 6960662 w 9333124"/>
              <a:gd name="connsiteY6" fmla="*/ 1062035 h 6880580"/>
              <a:gd name="connsiteX7" fmla="*/ 9056166 w 9333124"/>
              <a:gd name="connsiteY7" fmla="*/ 1062035 h 6880580"/>
              <a:gd name="connsiteX8" fmla="*/ 9056167 w 9333124"/>
              <a:gd name="connsiteY8" fmla="*/ 119063 h 6880580"/>
              <a:gd name="connsiteX9" fmla="*/ 9160927 w 9333124"/>
              <a:gd name="connsiteY9" fmla="*/ 2519 h 6880580"/>
              <a:gd name="connsiteX10" fmla="*/ 9333124 w 9333124"/>
              <a:gd name="connsiteY10" fmla="*/ 337271 h 6880580"/>
              <a:gd name="connsiteX11" fmla="*/ 9175184 w 9333124"/>
              <a:gd name="connsiteY11" fmla="*/ 6875835 h 6880580"/>
              <a:gd name="connsiteX12" fmla="*/ 0 w 9333124"/>
              <a:gd name="connsiteY12" fmla="*/ 6880580 h 6880580"/>
              <a:gd name="connsiteX13" fmla="*/ 12187 w 9333124"/>
              <a:gd name="connsiteY13" fmla="*/ 2520 h 6880580"/>
              <a:gd name="connsiteX0" fmla="*/ 12187 w 9175184"/>
              <a:gd name="connsiteY0" fmla="*/ 2520 h 6880580"/>
              <a:gd name="connsiteX1" fmla="*/ 4586558 w 9175184"/>
              <a:gd name="connsiteY1" fmla="*/ 4760 h 6880580"/>
              <a:gd name="connsiteX2" fmla="*/ 9158557 w 9175184"/>
              <a:gd name="connsiteY2" fmla="*/ 0 h 6880580"/>
              <a:gd name="connsiteX3" fmla="*/ 9158558 w 9175184"/>
              <a:gd name="connsiteY3" fmla="*/ 4760 h 6880580"/>
              <a:gd name="connsiteX4" fmla="*/ 9056162 w 9175184"/>
              <a:gd name="connsiteY4" fmla="*/ 119063 h 6880580"/>
              <a:gd name="connsiteX5" fmla="*/ 6958282 w 9175184"/>
              <a:gd name="connsiteY5" fmla="*/ 116678 h 6880580"/>
              <a:gd name="connsiteX6" fmla="*/ 6960662 w 9175184"/>
              <a:gd name="connsiteY6" fmla="*/ 1062035 h 6880580"/>
              <a:gd name="connsiteX7" fmla="*/ 9056166 w 9175184"/>
              <a:gd name="connsiteY7" fmla="*/ 1062035 h 6880580"/>
              <a:gd name="connsiteX8" fmla="*/ 9056167 w 9175184"/>
              <a:gd name="connsiteY8" fmla="*/ 119063 h 6880580"/>
              <a:gd name="connsiteX9" fmla="*/ 9160927 w 9175184"/>
              <a:gd name="connsiteY9" fmla="*/ 2519 h 6880580"/>
              <a:gd name="connsiteX10" fmla="*/ 9166869 w 9175184"/>
              <a:gd name="connsiteY10" fmla="*/ 129453 h 6880580"/>
              <a:gd name="connsiteX11" fmla="*/ 9175184 w 9175184"/>
              <a:gd name="connsiteY11" fmla="*/ 6875835 h 6880580"/>
              <a:gd name="connsiteX12" fmla="*/ 0 w 9175184"/>
              <a:gd name="connsiteY12" fmla="*/ 6880580 h 6880580"/>
              <a:gd name="connsiteX13" fmla="*/ 12187 w 9175184"/>
              <a:gd name="connsiteY13" fmla="*/ 2520 h 6880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75184" h="6880580">
                <a:moveTo>
                  <a:pt x="12187" y="2520"/>
                </a:moveTo>
                <a:lnTo>
                  <a:pt x="4586558" y="4760"/>
                </a:lnTo>
                <a:lnTo>
                  <a:pt x="9158557" y="0"/>
                </a:lnTo>
                <a:cubicBezTo>
                  <a:pt x="9158557" y="1587"/>
                  <a:pt x="9158558" y="3173"/>
                  <a:pt x="9158558" y="4760"/>
                </a:cubicBezTo>
                <a:lnTo>
                  <a:pt x="9056162" y="119063"/>
                </a:lnTo>
                <a:lnTo>
                  <a:pt x="6958282" y="116678"/>
                </a:lnTo>
                <a:cubicBezTo>
                  <a:pt x="6959075" y="431797"/>
                  <a:pt x="6959869" y="746916"/>
                  <a:pt x="6960662" y="1062035"/>
                </a:cubicBezTo>
                <a:lnTo>
                  <a:pt x="9056166" y="1062035"/>
                </a:lnTo>
                <a:cubicBezTo>
                  <a:pt x="9056166" y="747711"/>
                  <a:pt x="9056167" y="433387"/>
                  <a:pt x="9056167" y="119063"/>
                </a:cubicBezTo>
                <a:lnTo>
                  <a:pt x="9160927" y="2519"/>
                </a:lnTo>
                <a:lnTo>
                  <a:pt x="9166869" y="129453"/>
                </a:lnTo>
                <a:cubicBezTo>
                  <a:pt x="9166870" y="2389331"/>
                  <a:pt x="9175183" y="4615957"/>
                  <a:pt x="9175184" y="6875835"/>
                </a:cubicBezTo>
                <a:lnTo>
                  <a:pt x="0" y="6880580"/>
                </a:lnTo>
                <a:cubicBezTo>
                  <a:pt x="1291" y="4590664"/>
                  <a:pt x="10896" y="2292436"/>
                  <a:pt x="12187" y="2520"/>
                </a:cubicBezTo>
                <a:close/>
              </a:path>
            </a:pathLst>
          </a:custGeom>
        </p:spPr>
        <p:txBody>
          <a:bodyPr anchor="ctr"/>
          <a:lstStyle>
            <a:lvl1pPr algn="ctr">
              <a:defRPr/>
            </a:lvl1pPr>
          </a:lstStyle>
          <a:p>
            <a:r>
              <a:rPr lang="en-GB" noProof="0" smtClean="0"/>
              <a:t>Bildplatzhalter</a:t>
            </a:r>
            <a:endParaRPr lang="en-GB" noProof="0"/>
          </a:p>
        </p:txBody>
      </p:sp>
      <p:sp>
        <p:nvSpPr>
          <p:cNvPr id="7" name="Textplatzhalter 13"/>
          <p:cNvSpPr>
            <a:spLocks noGrp="1"/>
          </p:cNvSpPr>
          <p:nvPr>
            <p:ph type="body" sz="quarter" idx="13" hasCustomPrompt="1"/>
          </p:nvPr>
        </p:nvSpPr>
        <p:spPr bwMode="gray">
          <a:xfrm>
            <a:off x="179388" y="2736627"/>
            <a:ext cx="5400675" cy="2159224"/>
          </a:xfrm>
          <a:solidFill>
            <a:schemeClr val="bg1">
              <a:alpha val="85000"/>
            </a:schemeClr>
          </a:solidFill>
          <a:effectLst>
            <a:outerShdw blurRad="76200" sx="101000" sy="101000" algn="ctr" rotWithShape="0">
              <a:schemeClr val="tx1">
                <a:alpha val="30000"/>
              </a:schemeClr>
            </a:outerShdw>
          </a:effectLst>
        </p:spPr>
        <p:txBody>
          <a:bodyPr vert="horz" lIns="173988" tIns="202986" rIns="173988" bIns="173988" rtlCol="0" anchor="b" anchorCtr="0">
            <a:noAutofit/>
          </a:bodyPr>
          <a:lstStyle>
            <a:lvl1pPr>
              <a:defRPr lang="de-DE" sz="1100" b="0" dirty="0" smtClean="0">
                <a:solidFill>
                  <a:schemeClr val="tx1"/>
                </a:solidFill>
                <a:latin typeface="+mj-lt"/>
                <a:ea typeface="+mj-ea"/>
                <a:cs typeface="+mj-cs"/>
              </a:defRPr>
            </a:lvl1pPr>
          </a:lstStyle>
          <a:p>
            <a:pPr lvl="0">
              <a:spcBef>
                <a:spcPct val="0"/>
              </a:spcBef>
            </a:pPr>
            <a:r>
              <a:rPr lang="de-DE" dirty="0" smtClean="0"/>
              <a:t>Beschreibender Text</a:t>
            </a:r>
          </a:p>
        </p:txBody>
      </p:sp>
      <p:sp>
        <p:nvSpPr>
          <p:cNvPr id="14" name="Titel 1"/>
          <p:cNvSpPr>
            <a:spLocks noGrp="1"/>
          </p:cNvSpPr>
          <p:nvPr>
            <p:ph type="title" hasCustomPrompt="1"/>
          </p:nvPr>
        </p:nvSpPr>
        <p:spPr bwMode="gray">
          <a:xfrm>
            <a:off x="179388" y="2736627"/>
            <a:ext cx="5400675" cy="935204"/>
          </a:xfrm>
          <a:noFill/>
          <a:ln>
            <a:noFill/>
          </a:ln>
          <a:effectLst>
            <a:outerShdw blurRad="76200" sx="101000" sy="101000" algn="ctr" rotWithShape="0">
              <a:schemeClr val="tx1">
                <a:alpha val="30000"/>
              </a:schemeClr>
            </a:outerShdw>
          </a:effectLst>
        </p:spPr>
        <p:txBody>
          <a:bodyPr lIns="144000" tIns="202986" rIns="173988" bIns="115992" anchor="b" anchorCtr="0"/>
          <a:lstStyle>
            <a:lvl1pPr>
              <a:defRPr sz="1900" b="0" cap="all" baseline="0"/>
            </a:lvl1pPr>
          </a:lstStyle>
          <a:p>
            <a:r>
              <a:rPr lang="de-DE" dirty="0" smtClean="0"/>
              <a:t>Kapitelname</a:t>
            </a:r>
            <a:endParaRPr lang="de-DE" dirty="0"/>
          </a:p>
        </p:txBody>
      </p:sp>
      <p:sp>
        <p:nvSpPr>
          <p:cNvPr id="15" name="Inhaltsplatzhalter 3"/>
          <p:cNvSpPr>
            <a:spLocks noGrp="1"/>
          </p:cNvSpPr>
          <p:nvPr>
            <p:ph sz="quarter" idx="14"/>
          </p:nvPr>
        </p:nvSpPr>
        <p:spPr bwMode="gray">
          <a:xfrm>
            <a:off x="324246" y="3663438"/>
            <a:ext cx="5040000" cy="8393"/>
          </a:xfrm>
          <a:solidFill>
            <a:schemeClr val="tx2"/>
          </a:solidFill>
        </p:spPr>
        <p:txBody>
          <a:bodyPr/>
          <a:lstStyle>
            <a:lvl1pPr marL="0" indent="0">
              <a:spcBef>
                <a:spcPts val="0"/>
              </a:spcBef>
              <a:spcAft>
                <a:spcPts val="0"/>
              </a:spcAft>
              <a:buFontTx/>
              <a:buNone/>
              <a:defRPr sz="100">
                <a:solidFill>
                  <a:schemeClr val="tx2"/>
                </a:solidFill>
              </a:defRPr>
            </a:lvl1pPr>
            <a:lvl2pPr marL="0" indent="0">
              <a:spcBef>
                <a:spcPts val="0"/>
              </a:spcBef>
              <a:spcAft>
                <a:spcPts val="0"/>
              </a:spcAft>
              <a:buFontTx/>
              <a:buNone/>
              <a:defRPr sz="100">
                <a:solidFill>
                  <a:schemeClr val="tx2"/>
                </a:solidFill>
              </a:defRPr>
            </a:lvl2pPr>
            <a:lvl3pPr marL="0" indent="0">
              <a:spcBef>
                <a:spcPts val="0"/>
              </a:spcBef>
              <a:spcAft>
                <a:spcPts val="0"/>
              </a:spcAft>
              <a:buFontTx/>
              <a:buNone/>
              <a:defRPr sz="100">
                <a:solidFill>
                  <a:schemeClr val="tx2"/>
                </a:solidFill>
              </a:defRPr>
            </a:lvl3pPr>
            <a:lvl4pPr marL="0" indent="0">
              <a:spcBef>
                <a:spcPts val="0"/>
              </a:spcBef>
              <a:spcAft>
                <a:spcPts val="0"/>
              </a:spcAft>
              <a:buFontTx/>
              <a:buNone/>
              <a:defRPr sz="100">
                <a:solidFill>
                  <a:schemeClr val="tx2"/>
                </a:solidFill>
              </a:defRPr>
            </a:lvl4pPr>
            <a:lvl5pPr marL="0" indent="0">
              <a:spcBef>
                <a:spcPts val="0"/>
              </a:spcBef>
              <a:spcAft>
                <a:spcPts val="0"/>
              </a:spcAft>
              <a:buFontTx/>
              <a:buNone/>
              <a:defRPr sz="100">
                <a:solidFill>
                  <a:schemeClr val="tx2"/>
                </a:solidFill>
              </a:defRPr>
            </a:lvl5pPr>
            <a:lvl6pPr marL="0" indent="0">
              <a:spcBef>
                <a:spcPts val="0"/>
              </a:spcBef>
              <a:spcAft>
                <a:spcPts val="0"/>
              </a:spcAft>
              <a:buFontTx/>
              <a:buNone/>
              <a:defRPr sz="100">
                <a:solidFill>
                  <a:schemeClr val="tx2"/>
                </a:solidFill>
              </a:defRPr>
            </a:lvl6pPr>
            <a:lvl7pPr marL="0" indent="0">
              <a:spcBef>
                <a:spcPts val="0"/>
              </a:spcBef>
              <a:spcAft>
                <a:spcPts val="0"/>
              </a:spcAft>
              <a:buFontTx/>
              <a:buNone/>
              <a:defRPr sz="100">
                <a:solidFill>
                  <a:schemeClr val="tx2"/>
                </a:solidFill>
              </a:defRPr>
            </a:lvl7pPr>
            <a:lvl8pPr marL="0" indent="0">
              <a:spcBef>
                <a:spcPts val="0"/>
              </a:spcBef>
              <a:spcAft>
                <a:spcPts val="0"/>
              </a:spcAft>
              <a:buFontTx/>
              <a:buNone/>
              <a:defRPr sz="100">
                <a:solidFill>
                  <a:schemeClr val="tx2"/>
                </a:solidFill>
              </a:defRPr>
            </a:lvl8pPr>
            <a:lvl9pPr marL="0" indent="0">
              <a:spcBef>
                <a:spcPts val="0"/>
              </a:spcBef>
              <a:spcAft>
                <a:spcPts val="0"/>
              </a:spcAft>
              <a:buFontTx/>
              <a:buNone/>
              <a:defRPr sz="100">
                <a:solidFill>
                  <a:schemeClr val="tx2"/>
                </a:solidFill>
              </a:defRPr>
            </a:lvl9pPr>
          </a:lstStyle>
          <a:p>
            <a:pPr lvl="0"/>
            <a:r>
              <a:rPr lang="de-DE" smtClean="0"/>
              <a:t>Textmasterformat bearbeiten</a:t>
            </a:r>
          </a:p>
        </p:txBody>
      </p:sp>
      <p:sp>
        <p:nvSpPr>
          <p:cNvPr id="12" name="Bildplatzhalter 8"/>
          <p:cNvSpPr>
            <a:spLocks noGrp="1"/>
          </p:cNvSpPr>
          <p:nvPr>
            <p:ph type="pic" sz="quarter" idx="11"/>
          </p:nvPr>
        </p:nvSpPr>
        <p:spPr bwMode="gray">
          <a:xfrm>
            <a:off x="5865230" y="5217338"/>
            <a:ext cx="1488438" cy="111900"/>
          </a:xfrm>
          <a:solidFill>
            <a:schemeClr val="tx2"/>
          </a:solidFill>
        </p:spPr>
        <p:txBody>
          <a:bodyPr/>
          <a:lstStyle>
            <a:lvl1pPr>
              <a:defRPr sz="100">
                <a:solidFill>
                  <a:schemeClr val="tx2"/>
                </a:solidFill>
              </a:defRPr>
            </a:lvl1pPr>
          </a:lstStyle>
          <a:p>
            <a:r>
              <a:rPr lang="de-DE" smtClean="0"/>
              <a:t>Bild durch Klicken auf Symbol hinzufügen</a:t>
            </a:r>
            <a:endParaRPr lang="de-DE"/>
          </a:p>
        </p:txBody>
      </p:sp>
      <p:sp>
        <p:nvSpPr>
          <p:cNvPr id="10" name="Textplatzhalter 2"/>
          <p:cNvSpPr>
            <a:spLocks noGrp="1"/>
          </p:cNvSpPr>
          <p:nvPr>
            <p:ph type="body" sz="quarter" idx="15"/>
          </p:nvPr>
        </p:nvSpPr>
        <p:spPr>
          <a:xfrm>
            <a:off x="5745773" y="90055"/>
            <a:ext cx="1726225" cy="727836"/>
          </a:xfrm>
          <a:ln>
            <a:solidFill>
              <a:schemeClr val="tx2"/>
            </a:solidFill>
          </a:ln>
        </p:spPr>
        <p:txBody>
          <a:bodyPr lIns="28998" tIns="28998"/>
          <a:lstStyle>
            <a:lvl1pPr marL="0" indent="0">
              <a:lnSpc>
                <a:spcPct val="100000"/>
              </a:lnSpc>
              <a:spcBef>
                <a:spcPts val="0"/>
              </a:spcBef>
              <a:spcAft>
                <a:spcPts val="0"/>
              </a:spcAft>
              <a:defRPr sz="100">
                <a:solidFill>
                  <a:schemeClr val="bg1"/>
                </a:solidFill>
              </a:defRPr>
            </a:lvl1pPr>
            <a:lvl2pPr marL="0" indent="0">
              <a:lnSpc>
                <a:spcPct val="100000"/>
              </a:lnSpc>
              <a:spcBef>
                <a:spcPts val="0"/>
              </a:spcBef>
              <a:spcAft>
                <a:spcPts val="0"/>
              </a:spcAft>
              <a:defRPr sz="100">
                <a:solidFill>
                  <a:schemeClr val="bg1"/>
                </a:solidFill>
              </a:defRPr>
            </a:lvl2pPr>
            <a:lvl3pPr marL="0" indent="0">
              <a:lnSpc>
                <a:spcPct val="100000"/>
              </a:lnSpc>
              <a:spcBef>
                <a:spcPts val="0"/>
              </a:spcBef>
              <a:spcAft>
                <a:spcPts val="0"/>
              </a:spcAft>
              <a:defRPr sz="100">
                <a:solidFill>
                  <a:schemeClr val="bg1"/>
                </a:solidFill>
              </a:defRPr>
            </a:lvl3pPr>
            <a:lvl4pPr marL="0" indent="0">
              <a:lnSpc>
                <a:spcPct val="100000"/>
              </a:lnSpc>
              <a:spcBef>
                <a:spcPts val="0"/>
              </a:spcBef>
              <a:spcAft>
                <a:spcPts val="0"/>
              </a:spcAft>
              <a:defRPr sz="100">
                <a:solidFill>
                  <a:schemeClr val="bg1"/>
                </a:solidFill>
              </a:defRPr>
            </a:lvl4pPr>
            <a:lvl5pPr marL="0" indent="0">
              <a:lnSpc>
                <a:spcPct val="100000"/>
              </a:lnSpc>
              <a:spcBef>
                <a:spcPts val="0"/>
              </a:spcBef>
              <a:spcAft>
                <a:spcPts val="0"/>
              </a:spcAft>
              <a:defRPr sz="100">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115953814"/>
      </p:ext>
    </p:extLst>
  </p:cSld>
  <p:clrMapOvr>
    <a:masterClrMapping/>
  </p:clrMapOvr>
  <p:transition spd="slow">
    <p:wipe/>
  </p:transition>
  <p:timing>
    <p:tnLst>
      <p:par>
        <p:cTn id="1" dur="indefinite" restart="never" nodeType="tmRoot"/>
      </p:par>
    </p:tnLst>
  </p:timing>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trenner II&#10;Section Heading II">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24199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13"/>
          <p:cNvSpPr>
            <a:spLocks noGrp="1"/>
          </p:cNvSpPr>
          <p:nvPr>
            <p:ph type="body" sz="quarter" idx="13" hasCustomPrompt="1"/>
          </p:nvPr>
        </p:nvSpPr>
        <p:spPr bwMode="gray">
          <a:xfrm>
            <a:off x="179388" y="2736627"/>
            <a:ext cx="5400675" cy="2159224"/>
          </a:xfrm>
          <a:solidFill>
            <a:schemeClr val="bg1">
              <a:alpha val="85000"/>
            </a:schemeClr>
          </a:solidFill>
          <a:effectLst>
            <a:outerShdw blurRad="76200" sx="101000" sy="101000" algn="ctr" rotWithShape="0">
              <a:schemeClr val="tx1">
                <a:alpha val="30000"/>
              </a:schemeClr>
            </a:outerShdw>
          </a:effectLst>
        </p:spPr>
        <p:txBody>
          <a:bodyPr vert="horz" lIns="173988" tIns="202986" rIns="173988" bIns="173988" rtlCol="0" anchor="b" anchorCtr="0">
            <a:noAutofit/>
          </a:bodyPr>
          <a:lstStyle>
            <a:lvl1pPr>
              <a:defRPr lang="de-DE" sz="1100" b="0" dirty="0" smtClean="0">
                <a:solidFill>
                  <a:schemeClr val="tx1"/>
                </a:solidFill>
                <a:latin typeface="+mj-lt"/>
                <a:ea typeface="+mj-ea"/>
                <a:cs typeface="+mj-cs"/>
              </a:defRPr>
            </a:lvl1pPr>
          </a:lstStyle>
          <a:p>
            <a:pPr lvl="0">
              <a:spcBef>
                <a:spcPct val="0"/>
              </a:spcBef>
            </a:pPr>
            <a:r>
              <a:rPr lang="de-DE" dirty="0" smtClean="0"/>
              <a:t>Beschreibender Text</a:t>
            </a:r>
          </a:p>
        </p:txBody>
      </p:sp>
      <p:sp>
        <p:nvSpPr>
          <p:cNvPr id="14" name="Titel 1"/>
          <p:cNvSpPr>
            <a:spLocks noGrp="1"/>
          </p:cNvSpPr>
          <p:nvPr>
            <p:ph type="title" hasCustomPrompt="1"/>
          </p:nvPr>
        </p:nvSpPr>
        <p:spPr bwMode="gray">
          <a:xfrm>
            <a:off x="179388" y="2736627"/>
            <a:ext cx="5387855" cy="935204"/>
          </a:xfrm>
          <a:noFill/>
          <a:ln>
            <a:noFill/>
          </a:ln>
          <a:effectLst>
            <a:outerShdw blurRad="76200" sx="101000" sy="101000" algn="ctr" rotWithShape="0">
              <a:schemeClr val="tx1">
                <a:alpha val="30000"/>
              </a:schemeClr>
            </a:outerShdw>
          </a:effectLst>
        </p:spPr>
        <p:txBody>
          <a:bodyPr lIns="144000" tIns="202986" rIns="173988" bIns="115992" anchor="b" anchorCtr="0"/>
          <a:lstStyle>
            <a:lvl1pPr>
              <a:defRPr sz="1900" b="0" cap="all" baseline="0"/>
            </a:lvl1pPr>
          </a:lstStyle>
          <a:p>
            <a:r>
              <a:rPr lang="de-DE" dirty="0" smtClean="0"/>
              <a:t>Kapitelname</a:t>
            </a:r>
            <a:endParaRPr lang="de-DE" dirty="0"/>
          </a:p>
        </p:txBody>
      </p:sp>
      <p:sp>
        <p:nvSpPr>
          <p:cNvPr id="15" name="Inhaltsplatzhalter 3"/>
          <p:cNvSpPr>
            <a:spLocks noGrp="1"/>
          </p:cNvSpPr>
          <p:nvPr>
            <p:ph sz="quarter" idx="14"/>
          </p:nvPr>
        </p:nvSpPr>
        <p:spPr bwMode="gray">
          <a:xfrm>
            <a:off x="324246" y="3663438"/>
            <a:ext cx="5040000" cy="8393"/>
          </a:xfrm>
          <a:solidFill>
            <a:schemeClr val="tx2"/>
          </a:solidFill>
        </p:spPr>
        <p:txBody>
          <a:bodyPr/>
          <a:lstStyle>
            <a:lvl1pPr marL="0" indent="0">
              <a:spcBef>
                <a:spcPts val="0"/>
              </a:spcBef>
              <a:spcAft>
                <a:spcPts val="0"/>
              </a:spcAft>
              <a:buFontTx/>
              <a:buNone/>
              <a:defRPr sz="100">
                <a:solidFill>
                  <a:schemeClr val="tx2"/>
                </a:solidFill>
              </a:defRPr>
            </a:lvl1pPr>
            <a:lvl2pPr marL="0" indent="0">
              <a:spcBef>
                <a:spcPts val="0"/>
              </a:spcBef>
              <a:spcAft>
                <a:spcPts val="0"/>
              </a:spcAft>
              <a:buFontTx/>
              <a:buNone/>
              <a:defRPr sz="100">
                <a:solidFill>
                  <a:schemeClr val="tx2"/>
                </a:solidFill>
              </a:defRPr>
            </a:lvl2pPr>
            <a:lvl3pPr marL="0" indent="0">
              <a:spcBef>
                <a:spcPts val="0"/>
              </a:spcBef>
              <a:spcAft>
                <a:spcPts val="0"/>
              </a:spcAft>
              <a:buFontTx/>
              <a:buNone/>
              <a:defRPr sz="100">
                <a:solidFill>
                  <a:schemeClr val="tx2"/>
                </a:solidFill>
              </a:defRPr>
            </a:lvl3pPr>
            <a:lvl4pPr marL="0" indent="0">
              <a:spcBef>
                <a:spcPts val="0"/>
              </a:spcBef>
              <a:spcAft>
                <a:spcPts val="0"/>
              </a:spcAft>
              <a:buFontTx/>
              <a:buNone/>
              <a:defRPr sz="100">
                <a:solidFill>
                  <a:schemeClr val="tx2"/>
                </a:solidFill>
              </a:defRPr>
            </a:lvl4pPr>
            <a:lvl5pPr marL="0" indent="0">
              <a:spcBef>
                <a:spcPts val="0"/>
              </a:spcBef>
              <a:spcAft>
                <a:spcPts val="0"/>
              </a:spcAft>
              <a:buFontTx/>
              <a:buNone/>
              <a:defRPr sz="100">
                <a:solidFill>
                  <a:schemeClr val="tx2"/>
                </a:solidFill>
              </a:defRPr>
            </a:lvl5pPr>
            <a:lvl6pPr marL="0" indent="0">
              <a:spcBef>
                <a:spcPts val="0"/>
              </a:spcBef>
              <a:spcAft>
                <a:spcPts val="0"/>
              </a:spcAft>
              <a:buFontTx/>
              <a:buNone/>
              <a:defRPr sz="100">
                <a:solidFill>
                  <a:schemeClr val="tx2"/>
                </a:solidFill>
              </a:defRPr>
            </a:lvl6pPr>
            <a:lvl7pPr marL="0" indent="0">
              <a:spcBef>
                <a:spcPts val="0"/>
              </a:spcBef>
              <a:spcAft>
                <a:spcPts val="0"/>
              </a:spcAft>
              <a:buFontTx/>
              <a:buNone/>
              <a:defRPr sz="100">
                <a:solidFill>
                  <a:schemeClr val="tx2"/>
                </a:solidFill>
              </a:defRPr>
            </a:lvl7pPr>
            <a:lvl8pPr marL="0" indent="0">
              <a:spcBef>
                <a:spcPts val="0"/>
              </a:spcBef>
              <a:spcAft>
                <a:spcPts val="0"/>
              </a:spcAft>
              <a:buFontTx/>
              <a:buNone/>
              <a:defRPr sz="100">
                <a:solidFill>
                  <a:schemeClr val="tx2"/>
                </a:solidFill>
              </a:defRPr>
            </a:lvl8pPr>
            <a:lvl9pPr marL="0" indent="0">
              <a:spcBef>
                <a:spcPts val="0"/>
              </a:spcBef>
              <a:spcAft>
                <a:spcPts val="0"/>
              </a:spcAft>
              <a:buFontTx/>
              <a:buNone/>
              <a:defRPr sz="100">
                <a:solidFill>
                  <a:schemeClr val="tx2"/>
                </a:solidFill>
              </a:defRPr>
            </a:lvl9pPr>
          </a:lstStyle>
          <a:p>
            <a:pPr lvl="0"/>
            <a:r>
              <a:rPr lang="de-DE" smtClean="0"/>
              <a:t>Textmasterformat bearbeiten</a:t>
            </a:r>
          </a:p>
        </p:txBody>
      </p:sp>
      <p:sp>
        <p:nvSpPr>
          <p:cNvPr id="12" name="Bildplatzhalter 8"/>
          <p:cNvSpPr>
            <a:spLocks noGrp="1"/>
          </p:cNvSpPr>
          <p:nvPr>
            <p:ph type="pic" sz="quarter" idx="11"/>
          </p:nvPr>
        </p:nvSpPr>
        <p:spPr bwMode="gray">
          <a:xfrm>
            <a:off x="5865230" y="5217338"/>
            <a:ext cx="1488438" cy="111900"/>
          </a:xfrm>
          <a:solidFill>
            <a:schemeClr val="tx2"/>
          </a:solidFill>
        </p:spPr>
        <p:txBody>
          <a:bodyPr/>
          <a:lstStyle>
            <a:lvl1pPr>
              <a:defRPr sz="100">
                <a:solidFill>
                  <a:schemeClr val="tx2"/>
                </a:solidFill>
              </a:defRPr>
            </a:lvl1pPr>
          </a:lstStyle>
          <a:p>
            <a:r>
              <a:rPr lang="de-DE" smtClean="0"/>
              <a:t>Bild durch Klicken auf Symbol hinzufügen</a:t>
            </a:r>
            <a:endParaRPr lang="de-DE"/>
          </a:p>
        </p:txBody>
      </p:sp>
    </p:spTree>
    <p:extLst>
      <p:ext uri="{BB962C8B-B14F-4D97-AF65-F5344CB8AC3E}">
        <p14:creationId xmlns:p14="http://schemas.microsoft.com/office/powerpoint/2010/main" val="1350514971"/>
      </p:ext>
    </p:extLst>
  </p:cSld>
  <p:clrMapOvr>
    <a:masterClrMapping/>
  </p:clrMapOvr>
  <p:transition spd="slow">
    <p:wipe/>
  </p:transition>
  <p:timing>
    <p:tnLst>
      <p:par>
        <p:cTn id="1" dur="indefinite" restart="never" nodeType="tmRoot"/>
      </p:par>
    </p:tnLst>
  </p:timing>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amp; Inhalt&#10;Title &amp;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5882855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baseline="0"/>
            </a:lvl1pPr>
          </a:lstStyle>
          <a:p>
            <a:r>
              <a:rPr lang="de-DE" smtClean="0"/>
              <a:t>Titelmasterformat durch Klicken bearbeiten</a:t>
            </a:r>
            <a:endParaRPr lang="de-DE" dirty="0"/>
          </a:p>
        </p:txBody>
      </p:sp>
      <p:sp>
        <p:nvSpPr>
          <p:cNvPr id="3" name="Inhaltsplatzhalter 2"/>
          <p:cNvSpPr>
            <a:spLocks noGrp="1"/>
          </p:cNvSpPr>
          <p:nvPr>
            <p:ph idx="1"/>
          </p:nvPr>
        </p:nvSpPr>
        <p:spPr bwMode="gray"/>
        <p:txBody>
          <a:body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dirty="0"/>
          </a:p>
        </p:txBody>
      </p:sp>
      <p:sp>
        <p:nvSpPr>
          <p:cNvPr id="7" name="Datumsplatzhalter 6"/>
          <p:cNvSpPr>
            <a:spLocks noGrp="1"/>
          </p:cNvSpPr>
          <p:nvPr>
            <p:ph type="dt" sz="half" idx="10"/>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1"/>
          </p:nvPr>
        </p:nvSpPr>
        <p:spPr/>
        <p:txBody>
          <a:bodyPr/>
          <a:lstStyle/>
          <a:p>
            <a:r>
              <a:rPr lang="de-DE" noProof="0" dirty="0" smtClean="0"/>
              <a:t>Titel der Präsentation</a:t>
            </a:r>
            <a:endParaRPr lang="de-DE" noProof="0" dirty="0"/>
          </a:p>
        </p:txBody>
      </p:sp>
      <p:sp>
        <p:nvSpPr>
          <p:cNvPr id="9" name="Foliennummernplatzhalter 8"/>
          <p:cNvSpPr>
            <a:spLocks noGrp="1"/>
          </p:cNvSpPr>
          <p:nvPr>
            <p:ph type="sldNum" sz="quarter" idx="12"/>
          </p:nvPr>
        </p:nvSpPr>
        <p:spPr/>
        <p:txBody>
          <a:bodyPr/>
          <a:lstStyle/>
          <a:p>
            <a:fld id="{D7FBF016-173F-4D13-AB5B-81861F2E6151}" type="slidenum">
              <a:rPr lang="de-DE" noProof="0" smtClean="0"/>
              <a:pPr/>
              <a:t>‹Nr.›</a:t>
            </a:fld>
            <a:endParaRPr lang="de-DE" noProof="0" dirty="0"/>
          </a:p>
        </p:txBody>
      </p:sp>
      <p:cxnSp>
        <p:nvCxnSpPr>
          <p:cNvPr id="10" name="Gerade Verbindung 9"/>
          <p:cNvCxnSpPr/>
          <p:nvPr userDrawn="1"/>
        </p:nvCxnSpPr>
        <p:spPr bwMode="gray">
          <a:xfrm>
            <a:off x="0" y="706151"/>
            <a:ext cx="556724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a:off x="0" y="706151"/>
            <a:ext cx="556724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180231" y="-99435"/>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flipH="1">
            <a:off x="5580831" y="-99435"/>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7380169" y="-99435"/>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180231" y="5406480"/>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5579969" y="5406480"/>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flipH="1">
            <a:off x="7380169" y="5406480"/>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5868863" y="-99435"/>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868863" y="5406480"/>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16200000" flipH="1">
            <a:off x="-60372" y="978261"/>
            <a:ext cx="810" cy="59538"/>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rot="16200000" flipH="1">
            <a:off x="-60372" y="4866693"/>
            <a:ext cx="810" cy="59538"/>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rot="16200000" flipH="1">
            <a:off x="7620825" y="978261"/>
            <a:ext cx="810" cy="59538"/>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rot="16200000" flipH="1">
            <a:off x="7620825" y="4867504"/>
            <a:ext cx="810" cy="59538"/>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5436775"/>
      </p:ext>
    </p:extLst>
  </p:cSld>
  <p:clrMapOvr>
    <a:masterClrMapping/>
  </p:clrMapOvr>
  <p:transition spd="slow">
    <p:wip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halt &amp; Marg.&#10;Content &amp; Mar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687494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p>
            <a:r>
              <a:rPr lang="de-DE" smtClean="0"/>
              <a:t>Titelmasterformat durch Klicken bearbeiten</a:t>
            </a:r>
            <a:endParaRPr lang="de-DE" dirty="0"/>
          </a:p>
        </p:txBody>
      </p:sp>
      <p:sp>
        <p:nvSpPr>
          <p:cNvPr id="3" name="Inhaltsplatzhalter 2"/>
          <p:cNvSpPr>
            <a:spLocks noGrp="1"/>
          </p:cNvSpPr>
          <p:nvPr>
            <p:ph idx="1"/>
          </p:nvPr>
        </p:nvSpPr>
        <p:spPr bwMode="gray"/>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Inhaltsplatzhalter 7"/>
          <p:cNvSpPr>
            <a:spLocks noGrp="1"/>
          </p:cNvSpPr>
          <p:nvPr>
            <p:ph sz="quarter" idx="13" hasCustomPrompt="1"/>
          </p:nvPr>
        </p:nvSpPr>
        <p:spPr bwMode="gray">
          <a:xfrm>
            <a:off x="5867400" y="1008063"/>
            <a:ext cx="1512888" cy="3887787"/>
          </a:xfrm>
        </p:spPr>
        <p:txBody>
          <a:bodyPr/>
          <a:lstStyle>
            <a:lvl1pPr>
              <a:defRPr/>
            </a:lvl1pPr>
          </a:lstStyle>
          <a:p>
            <a:pPr lvl="0"/>
            <a:r>
              <a:rPr lang="de-DE" dirty="0" smtClean="0"/>
              <a:t>Optionale Marginalie</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9" name="Fußzeilenplatzhalter 8"/>
          <p:cNvSpPr>
            <a:spLocks noGrp="1"/>
          </p:cNvSpPr>
          <p:nvPr>
            <p:ph type="ftr" sz="quarter" idx="15"/>
          </p:nvPr>
        </p:nvSpPr>
        <p:spPr/>
        <p:txBody>
          <a:bodyPr/>
          <a:lstStyle/>
          <a:p>
            <a:r>
              <a:rPr lang="de-DE" noProof="0" dirty="0" smtClean="0"/>
              <a:t>Titel der Präsentation</a:t>
            </a:r>
            <a:endParaRPr lang="de-DE" noProof="0" dirty="0"/>
          </a:p>
        </p:txBody>
      </p:sp>
      <p:sp>
        <p:nvSpPr>
          <p:cNvPr id="10" name="Foliennummernplatzhalter 9"/>
          <p:cNvSpPr>
            <a:spLocks noGrp="1"/>
          </p:cNvSpPr>
          <p:nvPr>
            <p:ph type="sldNum" sz="quarter" idx="16"/>
          </p:nvPr>
        </p:nvSpPr>
        <p:spPr/>
        <p:txBody>
          <a:bodyPr/>
          <a:lstStyle/>
          <a:p>
            <a:fld id="{D7FBF016-173F-4D13-AB5B-81861F2E6151}" type="slidenum">
              <a:rPr lang="de-DE" noProof="0" smtClean="0"/>
              <a:pPr/>
              <a:t>‹Nr.›</a:t>
            </a:fld>
            <a:endParaRPr lang="de-DE" noProof="0" dirty="0"/>
          </a:p>
        </p:txBody>
      </p:sp>
      <p:cxnSp>
        <p:nvCxnSpPr>
          <p:cNvPr id="11" name="Gerade Verbindung 10"/>
          <p:cNvCxnSpPr/>
          <p:nvPr userDrawn="1"/>
        </p:nvCxnSpPr>
        <p:spPr bwMode="gray">
          <a:xfrm>
            <a:off x="0" y="706151"/>
            <a:ext cx="556724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a:off x="0" y="706151"/>
            <a:ext cx="556724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180231" y="-99435"/>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H="1">
            <a:off x="5579969" y="-99435"/>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7380169" y="-99435"/>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flipH="1">
            <a:off x="180231" y="5406480"/>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5579969" y="5406480"/>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7380169" y="5406480"/>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5868863" y="-99435"/>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5868001" y="5406480"/>
            <a:ext cx="862" cy="5595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rot="16200000" flipH="1">
            <a:off x="-60372" y="978261"/>
            <a:ext cx="810" cy="59538"/>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rot="16200000" flipH="1">
            <a:off x="-60372" y="4866693"/>
            <a:ext cx="810" cy="59538"/>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16200000" flipH="1">
            <a:off x="7620825" y="978261"/>
            <a:ext cx="810" cy="59538"/>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rot="16200000" flipH="1">
            <a:off x="7620825" y="4867504"/>
            <a:ext cx="810" cy="59538"/>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2142442"/>
      </p:ext>
    </p:extLst>
  </p:cSld>
  <p:clrMapOvr>
    <a:masterClrMapping/>
  </p:clrMapOvr>
  <p:transition spd="slow">
    <p:wipe/>
  </p:transition>
  <p:timing>
    <p:tnLst>
      <p:par>
        <p:cTn id="1" dur="indefinite" restart="never" nodeType="tmRoot"/>
      </p:par>
    </p:tnLst>
  </p:timing>
  <p:hf hdr="0"/>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9"/>
            </p:custDataLst>
            <p:extLst>
              <p:ext uri="{D42A27DB-BD31-4B8C-83A1-F6EECF244321}">
                <p14:modId xmlns:p14="http://schemas.microsoft.com/office/powerpoint/2010/main" val="393751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7"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179388" y="144339"/>
            <a:ext cx="5400675" cy="503606"/>
          </a:xfrm>
          <a:prstGeom prst="rect">
            <a:avLst/>
          </a:prstGeom>
        </p:spPr>
        <p:txBody>
          <a:bodyPr vert="horz" lIns="0" tIns="0" rIns="0" bIns="0" rtlCol="0" anchor="b" anchorCtr="0">
            <a:noAutofit/>
          </a:bodyPr>
          <a:lstStyle/>
          <a:p>
            <a:r>
              <a:rPr lang="de-DE" noProof="0" dirty="0" smtClean="0"/>
              <a:t>Titelmasterformat durch Klicken bearbeiten</a:t>
            </a:r>
            <a:endParaRPr lang="de-DE" noProof="0" dirty="0"/>
          </a:p>
        </p:txBody>
      </p:sp>
      <p:sp>
        <p:nvSpPr>
          <p:cNvPr id="3" name="Textplatzhalter 2"/>
          <p:cNvSpPr>
            <a:spLocks noGrp="1"/>
          </p:cNvSpPr>
          <p:nvPr>
            <p:ph type="body" idx="1"/>
          </p:nvPr>
        </p:nvSpPr>
        <p:spPr bwMode="gray">
          <a:xfrm>
            <a:off x="179388" y="1008063"/>
            <a:ext cx="5400675" cy="3887787"/>
          </a:xfrm>
          <a:prstGeom prst="rect">
            <a:avLst/>
          </a:prstGeom>
        </p:spPr>
        <p:txBody>
          <a:bodyPr vert="horz" lIns="0" tIns="0" rIns="0" bIns="0" rtlCol="0" anchor="t" anchorCtr="0">
            <a:noAutofit/>
          </a:bodyPr>
          <a:lstStyle/>
          <a:p>
            <a:pPr lvl="0"/>
            <a:r>
              <a:rPr lang="de-DE" noProof="0" dirty="0" smtClean="0"/>
              <a:t>Textmasterformat bearbeiten</a:t>
            </a:r>
          </a:p>
          <a:p>
            <a:pPr lvl="1"/>
            <a:r>
              <a:rPr lang="de-DE" noProof="0" dirty="0" smtClean="0"/>
              <a:t>Test1</a:t>
            </a:r>
          </a:p>
          <a:p>
            <a:pPr lvl="2"/>
            <a:r>
              <a:rPr lang="de-DE" noProof="0" dirty="0" smtClean="0"/>
              <a:t>Test2</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endParaRPr lang="de-DE" noProof="0" dirty="0"/>
          </a:p>
        </p:txBody>
      </p:sp>
      <p:sp>
        <p:nvSpPr>
          <p:cNvPr id="4" name="Datumsplatzhalter 3"/>
          <p:cNvSpPr>
            <a:spLocks noGrp="1"/>
          </p:cNvSpPr>
          <p:nvPr>
            <p:ph type="dt" sz="half" idx="2"/>
          </p:nvPr>
        </p:nvSpPr>
        <p:spPr bwMode="gray">
          <a:xfrm>
            <a:off x="396255" y="5126925"/>
            <a:ext cx="576000" cy="124810"/>
          </a:xfrm>
          <a:prstGeom prst="rect">
            <a:avLst/>
          </a:prstGeom>
        </p:spPr>
        <p:txBody>
          <a:bodyPr vert="horz" lIns="0" tIns="0" rIns="0" bIns="0" rtlCol="0" anchor="t" anchorCtr="0">
            <a:noAutofit/>
          </a:bodyPr>
          <a:lstStyle>
            <a:lvl1pPr algn="l">
              <a:defRPr sz="700">
                <a:solidFill>
                  <a:schemeClr val="tx1"/>
                </a:solidFill>
              </a:defRPr>
            </a:lvl1pPr>
          </a:lstStyle>
          <a:p>
            <a:fld id="{5A607C75-7E5E-49DD-BFE0-283F617009BA}" type="datetime1">
              <a:rPr lang="de-DE" noProof="0" smtClean="0"/>
              <a:t>12.05.2017</a:t>
            </a:fld>
            <a:endParaRPr lang="de-DE" noProof="0" dirty="0"/>
          </a:p>
        </p:txBody>
      </p:sp>
      <p:sp>
        <p:nvSpPr>
          <p:cNvPr id="5" name="Fußzeilenplatzhalter 4"/>
          <p:cNvSpPr>
            <a:spLocks noGrp="1"/>
          </p:cNvSpPr>
          <p:nvPr>
            <p:ph type="ftr" sz="quarter" idx="3"/>
          </p:nvPr>
        </p:nvSpPr>
        <p:spPr bwMode="gray">
          <a:xfrm>
            <a:off x="972318" y="5126925"/>
            <a:ext cx="4608000" cy="124810"/>
          </a:xfrm>
          <a:prstGeom prst="rect">
            <a:avLst/>
          </a:prstGeom>
        </p:spPr>
        <p:txBody>
          <a:bodyPr vert="horz" lIns="0" tIns="0" rIns="0" bIns="0" rtlCol="0" anchor="t" anchorCtr="0">
            <a:noAutofit/>
          </a:bodyPr>
          <a:lstStyle>
            <a:lvl1pPr algn="l">
              <a:defRPr sz="700">
                <a:solidFill>
                  <a:schemeClr val="tx1"/>
                </a:solidFill>
              </a:defRPr>
            </a:lvl1pPr>
          </a:lstStyle>
          <a:p>
            <a:r>
              <a:rPr lang="de-DE" noProof="0" dirty="0" smtClean="0"/>
              <a:t>Titel der Präsentation</a:t>
            </a:r>
            <a:endParaRPr lang="de-DE" noProof="0" dirty="0"/>
          </a:p>
        </p:txBody>
      </p:sp>
      <p:sp>
        <p:nvSpPr>
          <p:cNvPr id="6" name="Foliennummernplatzhalter 5"/>
          <p:cNvSpPr>
            <a:spLocks noGrp="1"/>
          </p:cNvSpPr>
          <p:nvPr>
            <p:ph type="sldNum" sz="quarter" idx="4"/>
          </p:nvPr>
        </p:nvSpPr>
        <p:spPr bwMode="gray">
          <a:xfrm>
            <a:off x="180231" y="5126925"/>
            <a:ext cx="216000" cy="124810"/>
          </a:xfrm>
          <a:prstGeom prst="rect">
            <a:avLst/>
          </a:prstGeom>
        </p:spPr>
        <p:txBody>
          <a:bodyPr vert="horz" lIns="0" tIns="0" rIns="0" bIns="0" rtlCol="0" anchor="t" anchorCtr="0">
            <a:noAutofit/>
          </a:bodyPr>
          <a:lstStyle>
            <a:lvl1pPr algn="l">
              <a:defRPr sz="700">
                <a:solidFill>
                  <a:schemeClr val="tx1"/>
                </a:solidFill>
              </a:defRPr>
            </a:lvl1pPr>
          </a:lstStyle>
          <a:p>
            <a:fld id="{D7FBF016-173F-4D13-AB5B-81861F2E6151}" type="slidenum">
              <a:rPr lang="de-DE" noProof="0" smtClean="0"/>
              <a:pPr/>
              <a:t>‹Nr.›</a:t>
            </a:fld>
            <a:endParaRPr lang="de-DE" noProof="0" dirty="0"/>
          </a:p>
        </p:txBody>
      </p:sp>
      <p:sp>
        <p:nvSpPr>
          <p:cNvPr id="1069" name="Rechteck 1068"/>
          <p:cNvSpPr/>
          <p:nvPr/>
        </p:nvSpPr>
        <p:spPr bwMode="gray">
          <a:xfrm>
            <a:off x="5865229" y="5217338"/>
            <a:ext cx="1512000" cy="111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655" tIns="36827" rIns="73655" bIns="36827" rtlCol="0" anchor="ctr"/>
          <a:lstStyle/>
          <a:p>
            <a:pPr algn="ctr"/>
            <a:endParaRPr lang="de-DE" dirty="0" err="1" smtClean="0">
              <a:solidFill>
                <a:sysClr val="windowText" lastClr="000000"/>
              </a:solidFill>
            </a:endParaRPr>
          </a:p>
        </p:txBody>
      </p:sp>
      <p:pic>
        <p:nvPicPr>
          <p:cNvPr id="10"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65230" y="149159"/>
            <a:ext cx="1515058" cy="5712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4369746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31" r:id="rId4"/>
    <p:sldLayoutId id="2147483719" r:id="rId5"/>
    <p:sldLayoutId id="2147483720" r:id="rId6"/>
  </p:sldLayoutIdLst>
  <p:transition spd="slow">
    <p:wipe/>
  </p:transition>
  <p:timing>
    <p:tnLst>
      <p:par>
        <p:cTn id="1" dur="indefinite" restart="never" nodeType="tmRoot"/>
      </p:par>
    </p:tnLst>
  </p:timing>
  <p:hf hdr="0"/>
  <p:txStyles>
    <p:titleStyle>
      <a:lvl1pPr algn="l" defTabSz="736549" rtl="0" eaLnBrk="1" latinLnBrk="0" hangingPunct="1">
        <a:spcBef>
          <a:spcPct val="0"/>
        </a:spcBef>
        <a:buNone/>
        <a:defRPr sz="1300" b="1" kern="1200">
          <a:solidFill>
            <a:schemeClr val="tx2"/>
          </a:solidFill>
          <a:latin typeface="+mj-lt"/>
          <a:ea typeface="+mj-ea"/>
          <a:cs typeface="+mj-cs"/>
        </a:defRPr>
      </a:lvl1pPr>
    </p:titleStyle>
    <p:bodyStyle>
      <a:lvl1pPr marL="0" indent="0" algn="l" defTabSz="736549" rtl="0" eaLnBrk="1" latinLnBrk="0" hangingPunct="1">
        <a:lnSpc>
          <a:spcPct val="110000"/>
        </a:lnSpc>
        <a:spcBef>
          <a:spcPts val="242"/>
        </a:spcBef>
        <a:spcAft>
          <a:spcPts val="242"/>
        </a:spcAft>
        <a:buFont typeface="Arial" pitchFamily="34" charset="0"/>
        <a:buNone/>
        <a:defRPr sz="1100" kern="1200">
          <a:solidFill>
            <a:schemeClr val="tx1"/>
          </a:solidFill>
          <a:latin typeface="+mn-lt"/>
          <a:ea typeface="+mn-ea"/>
          <a:cs typeface="+mn-cs"/>
        </a:defRPr>
      </a:lvl1pPr>
      <a:lvl2pPr marL="144990" indent="-144990" algn="l" defTabSz="736549" rtl="0" eaLnBrk="1" latinLnBrk="0" hangingPunct="1">
        <a:lnSpc>
          <a:spcPct val="110000"/>
        </a:lnSpc>
        <a:spcBef>
          <a:spcPts val="242"/>
        </a:spcBef>
        <a:spcAft>
          <a:spcPts val="242"/>
        </a:spcAft>
        <a:buFont typeface="Arial" pitchFamily="34" charset="0"/>
        <a:buChar char="•"/>
        <a:defRPr sz="1100" kern="1200">
          <a:solidFill>
            <a:schemeClr val="tx1"/>
          </a:solidFill>
          <a:latin typeface="+mn-lt"/>
          <a:ea typeface="+mn-ea"/>
          <a:cs typeface="+mn-cs"/>
        </a:defRPr>
      </a:lvl2pPr>
      <a:lvl3pPr marL="289980" indent="-144990" algn="l" defTabSz="736549" rtl="0" eaLnBrk="1" latinLnBrk="0" hangingPunct="1">
        <a:lnSpc>
          <a:spcPct val="110000"/>
        </a:lnSpc>
        <a:spcBef>
          <a:spcPts val="242"/>
        </a:spcBef>
        <a:spcAft>
          <a:spcPts val="242"/>
        </a:spcAft>
        <a:buFont typeface="Arial" pitchFamily="34" charset="0"/>
        <a:buChar char="•"/>
        <a:defRPr sz="1100" kern="1200">
          <a:solidFill>
            <a:schemeClr val="tx1"/>
          </a:solidFill>
          <a:latin typeface="+mn-lt"/>
          <a:ea typeface="+mn-ea"/>
          <a:cs typeface="+mn-cs"/>
        </a:defRPr>
      </a:lvl3pPr>
      <a:lvl4pPr marL="434769" indent="-144990" algn="l" defTabSz="736549" rtl="0" eaLnBrk="1" latinLnBrk="0" hangingPunct="1">
        <a:lnSpc>
          <a:spcPct val="110000"/>
        </a:lnSpc>
        <a:spcBef>
          <a:spcPts val="242"/>
        </a:spcBef>
        <a:spcAft>
          <a:spcPts val="242"/>
        </a:spcAft>
        <a:buFont typeface="Arial" pitchFamily="34" charset="0"/>
        <a:buChar char="•"/>
        <a:defRPr sz="1100" kern="1200">
          <a:solidFill>
            <a:schemeClr val="tx1"/>
          </a:solidFill>
          <a:latin typeface="+mn-lt"/>
          <a:ea typeface="+mn-ea"/>
          <a:cs typeface="+mn-cs"/>
        </a:defRPr>
      </a:lvl4pPr>
      <a:lvl5pPr marL="579960" indent="-144990" algn="l" defTabSz="736549" rtl="0" eaLnBrk="1" latinLnBrk="0" hangingPunct="1">
        <a:lnSpc>
          <a:spcPct val="110000"/>
        </a:lnSpc>
        <a:spcBef>
          <a:spcPts val="242"/>
        </a:spcBef>
        <a:spcAft>
          <a:spcPts val="242"/>
        </a:spcAft>
        <a:buFont typeface="Arial" pitchFamily="34" charset="0"/>
        <a:buChar char="•"/>
        <a:defRPr sz="1100" kern="1200">
          <a:solidFill>
            <a:schemeClr val="tx1"/>
          </a:solidFill>
          <a:latin typeface="+mn-lt"/>
          <a:ea typeface="+mn-ea"/>
          <a:cs typeface="+mn-cs"/>
        </a:defRPr>
      </a:lvl5pPr>
      <a:lvl6pPr marL="579960" indent="-144990" algn="l" defTabSz="736549" rtl="0" eaLnBrk="1" latinLnBrk="0" hangingPunct="1">
        <a:lnSpc>
          <a:spcPct val="110000"/>
        </a:lnSpc>
        <a:spcBef>
          <a:spcPts val="242"/>
        </a:spcBef>
        <a:spcAft>
          <a:spcPts val="242"/>
        </a:spcAft>
        <a:buFont typeface="Arial" pitchFamily="34" charset="0"/>
        <a:buChar char="•"/>
        <a:defRPr sz="1100" kern="1200">
          <a:solidFill>
            <a:schemeClr val="tx1"/>
          </a:solidFill>
          <a:latin typeface="+mn-lt"/>
          <a:ea typeface="+mn-ea"/>
          <a:cs typeface="+mn-cs"/>
        </a:defRPr>
      </a:lvl6pPr>
      <a:lvl7pPr marL="579960" indent="-144990" algn="l" defTabSz="736549" rtl="0" eaLnBrk="1" latinLnBrk="0" hangingPunct="1">
        <a:lnSpc>
          <a:spcPct val="110000"/>
        </a:lnSpc>
        <a:spcBef>
          <a:spcPts val="242"/>
        </a:spcBef>
        <a:spcAft>
          <a:spcPts val="242"/>
        </a:spcAft>
        <a:buFont typeface="Arial" pitchFamily="34" charset="0"/>
        <a:buChar char="•"/>
        <a:defRPr sz="1100" kern="1200">
          <a:solidFill>
            <a:schemeClr val="tx1"/>
          </a:solidFill>
          <a:latin typeface="+mn-lt"/>
          <a:ea typeface="+mn-ea"/>
          <a:cs typeface="+mn-cs"/>
        </a:defRPr>
      </a:lvl7pPr>
      <a:lvl8pPr marL="579960" indent="-144990" algn="l" defTabSz="736549" rtl="0" eaLnBrk="1" latinLnBrk="0" hangingPunct="1">
        <a:lnSpc>
          <a:spcPct val="110000"/>
        </a:lnSpc>
        <a:spcBef>
          <a:spcPts val="242"/>
        </a:spcBef>
        <a:spcAft>
          <a:spcPts val="242"/>
        </a:spcAft>
        <a:buFont typeface="Arial" pitchFamily="34" charset="0"/>
        <a:buChar char="•"/>
        <a:defRPr sz="1100" kern="1200">
          <a:solidFill>
            <a:schemeClr val="tx1"/>
          </a:solidFill>
          <a:latin typeface="+mn-lt"/>
          <a:ea typeface="+mn-ea"/>
          <a:cs typeface="+mn-cs"/>
        </a:defRPr>
      </a:lvl8pPr>
      <a:lvl9pPr marL="579960" indent="-144990" algn="l" defTabSz="736549" rtl="0" eaLnBrk="1" latinLnBrk="0" hangingPunct="1">
        <a:lnSpc>
          <a:spcPct val="110000"/>
        </a:lnSpc>
        <a:spcBef>
          <a:spcPts val="242"/>
        </a:spcBef>
        <a:spcAft>
          <a:spcPts val="242"/>
        </a:spcAft>
        <a:buFont typeface="Arial" pitchFamily="34" charset="0"/>
        <a:buChar char="•"/>
        <a:defRPr sz="1100" kern="1200">
          <a:solidFill>
            <a:schemeClr val="tx1"/>
          </a:solidFill>
          <a:latin typeface="+mn-lt"/>
          <a:ea typeface="+mn-ea"/>
          <a:cs typeface="+mn-cs"/>
        </a:defRPr>
      </a:lvl9pPr>
    </p:bodyStyle>
    <p:otherStyle>
      <a:defPPr>
        <a:defRPr lang="de-DE"/>
      </a:defPPr>
      <a:lvl1pPr marL="0" algn="l" defTabSz="736549" rtl="0" eaLnBrk="1" latinLnBrk="0" hangingPunct="1">
        <a:defRPr sz="1100" kern="1200">
          <a:solidFill>
            <a:schemeClr val="tx1"/>
          </a:solidFill>
          <a:latin typeface="+mn-lt"/>
          <a:ea typeface="+mn-ea"/>
          <a:cs typeface="+mn-cs"/>
        </a:defRPr>
      </a:lvl1pPr>
      <a:lvl2pPr marL="368275" algn="l" defTabSz="736549" rtl="0" eaLnBrk="1" latinLnBrk="0" hangingPunct="1">
        <a:defRPr sz="1100" kern="1200">
          <a:solidFill>
            <a:schemeClr val="tx1"/>
          </a:solidFill>
          <a:latin typeface="+mn-lt"/>
          <a:ea typeface="+mn-ea"/>
          <a:cs typeface="+mn-cs"/>
        </a:defRPr>
      </a:lvl2pPr>
      <a:lvl3pPr marL="736549" algn="l" defTabSz="736549" rtl="0" eaLnBrk="1" latinLnBrk="0" hangingPunct="1">
        <a:defRPr sz="1100" kern="1200">
          <a:solidFill>
            <a:schemeClr val="tx1"/>
          </a:solidFill>
          <a:latin typeface="+mn-lt"/>
          <a:ea typeface="+mn-ea"/>
          <a:cs typeface="+mn-cs"/>
        </a:defRPr>
      </a:lvl3pPr>
      <a:lvl4pPr marL="1104824" algn="l" defTabSz="736549" rtl="0" eaLnBrk="1" latinLnBrk="0" hangingPunct="1">
        <a:defRPr sz="1100" kern="1200">
          <a:solidFill>
            <a:schemeClr val="tx1"/>
          </a:solidFill>
          <a:latin typeface="+mn-lt"/>
          <a:ea typeface="+mn-ea"/>
          <a:cs typeface="+mn-cs"/>
        </a:defRPr>
      </a:lvl4pPr>
      <a:lvl5pPr marL="1473098" algn="l" defTabSz="736549" rtl="0" eaLnBrk="1" latinLnBrk="0" hangingPunct="1">
        <a:defRPr sz="1100" kern="1200">
          <a:solidFill>
            <a:schemeClr val="tx1"/>
          </a:solidFill>
          <a:latin typeface="+mn-lt"/>
          <a:ea typeface="+mn-ea"/>
          <a:cs typeface="+mn-cs"/>
        </a:defRPr>
      </a:lvl5pPr>
      <a:lvl6pPr marL="1841373" algn="l" defTabSz="736549" rtl="0" eaLnBrk="1" latinLnBrk="0" hangingPunct="1">
        <a:defRPr sz="1100" kern="1200">
          <a:solidFill>
            <a:schemeClr val="tx1"/>
          </a:solidFill>
          <a:latin typeface="+mn-lt"/>
          <a:ea typeface="+mn-ea"/>
          <a:cs typeface="+mn-cs"/>
        </a:defRPr>
      </a:lvl6pPr>
      <a:lvl7pPr marL="2209648" algn="l" defTabSz="736549" rtl="0" eaLnBrk="1" latinLnBrk="0" hangingPunct="1">
        <a:defRPr sz="1100" kern="1200">
          <a:solidFill>
            <a:schemeClr val="tx1"/>
          </a:solidFill>
          <a:latin typeface="+mn-lt"/>
          <a:ea typeface="+mn-ea"/>
          <a:cs typeface="+mn-cs"/>
        </a:defRPr>
      </a:lvl7pPr>
      <a:lvl8pPr marL="2577922" algn="l" defTabSz="736549" rtl="0" eaLnBrk="1" latinLnBrk="0" hangingPunct="1">
        <a:defRPr sz="1100" kern="1200">
          <a:solidFill>
            <a:schemeClr val="tx1"/>
          </a:solidFill>
          <a:latin typeface="+mn-lt"/>
          <a:ea typeface="+mn-ea"/>
          <a:cs typeface="+mn-cs"/>
        </a:defRPr>
      </a:lvl8pPr>
      <a:lvl9pPr marL="2946197" algn="l" defTabSz="736549" rtl="0" eaLnBrk="1" latinLnBrk="0" hangingPunct="1">
        <a:defRPr sz="1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3.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6.xml"/><Relationship Id="rId7" Type="http://schemas.openxmlformats.org/officeDocument/2006/relationships/diagramData" Target="../diagrams/data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17.bin"/><Relationship Id="rId10" Type="http://schemas.openxmlformats.org/officeDocument/2006/relationships/diagramColors" Target="../diagrams/colors1.xml"/><Relationship Id="rId4" Type="http://schemas.openxmlformats.org/officeDocument/2006/relationships/image" Target="../media/image3.png"/><Relationship Id="rId9"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6.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7.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6.xml"/><Relationship Id="rId7" Type="http://schemas.openxmlformats.org/officeDocument/2006/relationships/image" Target="../media/image8.png"/><Relationship Id="rId12" Type="http://schemas.openxmlformats.org/officeDocument/2006/relationships/image" Target="../media/image12.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11.bin"/><Relationship Id="rId10" Type="http://schemas.openxmlformats.org/officeDocument/2006/relationships/image" Target="../media/image10.png"/><Relationship Id="rId4" Type="http://schemas.openxmlformats.org/officeDocument/2006/relationships/image" Target="../media/image3.png"/><Relationship Id="rId9"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3.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4.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77576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4"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ctrTitle"/>
          </p:nvPr>
        </p:nvSpPr>
        <p:spPr/>
        <p:txBody>
          <a:bodyPr/>
          <a:lstStyle/>
          <a:p>
            <a:r>
              <a:rPr lang="de-DE" dirty="0" smtClean="0">
                <a:effectLst>
                  <a:outerShdw blurRad="38100" dist="38100" dir="2700000" algn="tl">
                    <a:srgbClr val="000000">
                      <a:alpha val="43137"/>
                    </a:srgbClr>
                  </a:outerShdw>
                </a:effectLst>
              </a:rPr>
              <a:t>LSC - Live Support Chat</a:t>
            </a:r>
            <a:endParaRPr lang="de-DE" dirty="0">
              <a:effectLst>
                <a:outerShdw blurRad="38100" dist="38100" dir="2700000" algn="tl">
                  <a:srgbClr val="000000">
                    <a:alpha val="43137"/>
                  </a:srgbClr>
                </a:outerShdw>
              </a:effectLst>
            </a:endParaRPr>
          </a:p>
        </p:txBody>
      </p:sp>
      <p:sp>
        <p:nvSpPr>
          <p:cNvPr id="6" name="Untertitel 5"/>
          <p:cNvSpPr>
            <a:spLocks noGrp="1"/>
          </p:cNvSpPr>
          <p:nvPr>
            <p:ph type="subTitle" idx="1"/>
          </p:nvPr>
        </p:nvSpPr>
        <p:spPr/>
        <p:txBody>
          <a:bodyPr/>
          <a:lstStyle/>
          <a:p>
            <a:r>
              <a:rPr lang="de-DE" dirty="0"/>
              <a:t>v</a:t>
            </a:r>
            <a:r>
              <a:rPr lang="de-DE" dirty="0" smtClean="0"/>
              <a:t>on Niklas Grieger</a:t>
            </a:r>
            <a:endParaRPr lang="de-DE" dirty="0"/>
          </a:p>
        </p:txBody>
      </p:sp>
      <p:pic>
        <p:nvPicPr>
          <p:cNvPr id="7178" name="Picture 10" descr="U:\Projektarbeit\Präsentation\img\ChatGu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80431" y="3197811"/>
            <a:ext cx="1152128" cy="1152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8564243"/>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915"/>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715972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smtClean="0">
                <a:effectLst>
                  <a:outerShdw blurRad="38100" dist="38100" dir="2700000" algn="tl">
                    <a:srgbClr val="000000">
                      <a:alpha val="43137"/>
                    </a:srgbClr>
                  </a:outerShdw>
                </a:effectLst>
              </a:rPr>
              <a:t>Amortisation / Nutzen</a:t>
            </a:r>
            <a:endParaRPr lang="de-DE" sz="2000" b="0" dirty="0">
              <a:effectLst>
                <a:outerShdw blurRad="38100" dist="38100" dir="2700000" algn="tl">
                  <a:srgbClr val="000000">
                    <a:alpha val="43137"/>
                  </a:srgbClr>
                </a:outerShdw>
              </a:effectLst>
            </a:endParaRP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rgbClr val="A9B5C7"/>
                </a:solidFill>
              </a:rPr>
              <a:t>Vorstellung</a:t>
            </a:r>
          </a:p>
          <a:p>
            <a:pPr marL="228600" indent="-228600">
              <a:buFont typeface="+mj-lt"/>
              <a:buAutoNum type="arabicPeriod"/>
            </a:pPr>
            <a:r>
              <a:rPr lang="de-DE" dirty="0">
                <a:solidFill>
                  <a:srgbClr val="A9B5C7"/>
                </a:solidFill>
              </a:rPr>
              <a:t>Thematik</a:t>
            </a:r>
            <a:endParaRPr lang="de-DE" dirty="0">
              <a:solidFill>
                <a:srgbClr val="A9B5C7"/>
              </a:solidFill>
            </a:endParaRPr>
          </a:p>
          <a:p>
            <a:pPr marL="228600" indent="-228600">
              <a:buFont typeface="+mj-lt"/>
              <a:buAutoNum type="arabicPeriod"/>
            </a:pPr>
            <a:r>
              <a:rPr lang="de-DE" dirty="0" smtClean="0">
                <a:solidFill>
                  <a:schemeClr val="tx2"/>
                </a:solidFill>
              </a:rPr>
              <a:t>Analyse</a:t>
            </a:r>
            <a:endParaRPr lang="de-DE" dirty="0" smtClean="0">
              <a:solidFill>
                <a:schemeClr val="tx2"/>
              </a:solidFill>
            </a:endParaRPr>
          </a:p>
          <a:p>
            <a:pPr marL="228600" indent="-228600">
              <a:buFont typeface="+mj-lt"/>
              <a:buAutoNum type="arabicPeriod"/>
            </a:pPr>
            <a:r>
              <a:rPr lang="de-DE" dirty="0" smtClean="0">
                <a:solidFill>
                  <a:srgbClr val="A9B5C7"/>
                </a:solidFill>
              </a:rPr>
              <a:t>Entwurf</a:t>
            </a:r>
          </a:p>
          <a:p>
            <a:pPr marL="228600" indent="-228600">
              <a:buFont typeface="+mj-lt"/>
              <a:buAutoNum type="arabicPeriod"/>
            </a:pPr>
            <a:r>
              <a:rPr lang="de-DE" dirty="0" smtClean="0">
                <a:solidFill>
                  <a:srgbClr val="A9B5C7"/>
                </a:solidFill>
              </a:rPr>
              <a:t>Implementierung</a:t>
            </a:r>
          </a:p>
          <a:p>
            <a:pPr marL="228600" indent="-228600">
              <a:buFont typeface="+mj-lt"/>
              <a:buAutoNum type="arabicPeriod"/>
            </a:pPr>
            <a:r>
              <a:rPr lang="de-DE" dirty="0" smtClean="0">
                <a:solidFill>
                  <a:srgbClr val="A9B5C7"/>
                </a:solidFill>
              </a:rPr>
              <a:t>Fazit</a:t>
            </a:r>
          </a:p>
          <a:p>
            <a:pPr marL="228600" indent="-228600">
              <a:buFont typeface="+mj-lt"/>
              <a:buAutoNum type="arabicPeriod"/>
            </a:pPr>
            <a:r>
              <a:rPr lang="de-DE" dirty="0">
                <a:solidFill>
                  <a:srgbClr val="A9B5C7"/>
                </a:solidFill>
              </a:rPr>
              <a:t>Live Demo (evtl</a:t>
            </a:r>
            <a:r>
              <a:rPr lang="de-DE" dirty="0" smtClean="0">
                <a:solidFill>
                  <a:srgbClr val="A9B5C7"/>
                </a:solidFill>
              </a:rPr>
              <a:t>.)</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10</a:t>
            </a:fld>
            <a:endParaRPr lang="de-DE" noProof="0" dirty="0"/>
          </a:p>
        </p:txBody>
      </p:sp>
      <p:sp>
        <p:nvSpPr>
          <p:cNvPr id="5" name="Inhaltsplatzhalter 4"/>
          <p:cNvSpPr>
            <a:spLocks noGrp="1"/>
          </p:cNvSpPr>
          <p:nvPr>
            <p:ph idx="1"/>
          </p:nvPr>
        </p:nvSpPr>
        <p:spPr/>
        <p:txBody>
          <a:bodyPr/>
          <a:lstStyle/>
          <a:p>
            <a:endParaRPr lang="de-DE" dirty="0" smtClean="0"/>
          </a:p>
          <a:p>
            <a:pPr marL="171450" indent="-171450" algn="ctr">
              <a:buFont typeface="Arial" pitchFamily="34" charset="0"/>
              <a:buChar char="•"/>
            </a:pPr>
            <a:r>
              <a:rPr lang="de-DE" dirty="0" smtClean="0">
                <a:solidFill>
                  <a:schemeClr val="tx2"/>
                </a:solidFill>
              </a:rPr>
              <a:t>Zeitersparnis</a:t>
            </a:r>
          </a:p>
          <a:p>
            <a:pPr marL="171450" indent="-171450" algn="ctr">
              <a:buFont typeface="Arial" pitchFamily="34" charset="0"/>
              <a:buChar char="•"/>
            </a:pPr>
            <a:endParaRPr lang="de-DE" dirty="0" smtClean="0">
              <a:solidFill>
                <a:schemeClr val="tx2"/>
              </a:solidFill>
            </a:endParaRPr>
          </a:p>
          <a:p>
            <a:pPr marL="171450" indent="-171450" algn="ctr">
              <a:buFont typeface="Arial" pitchFamily="34" charset="0"/>
              <a:buChar char="•"/>
            </a:pPr>
            <a:r>
              <a:rPr lang="de-DE" dirty="0" smtClean="0">
                <a:solidFill>
                  <a:schemeClr val="tx2"/>
                </a:solidFill>
              </a:rPr>
              <a:t>Effizienteres Arbeiten für den Fachbereich</a:t>
            </a:r>
          </a:p>
          <a:p>
            <a:pPr marL="171450" indent="-171450" algn="ctr">
              <a:buFont typeface="Arial" pitchFamily="34" charset="0"/>
              <a:buChar char="•"/>
            </a:pPr>
            <a:endParaRPr lang="de-DE" dirty="0" smtClean="0">
              <a:solidFill>
                <a:schemeClr val="tx2"/>
              </a:solidFill>
            </a:endParaRPr>
          </a:p>
          <a:p>
            <a:pPr marL="171450" indent="-171450" algn="ctr">
              <a:buFont typeface="Arial" pitchFamily="34" charset="0"/>
              <a:buChar char="•"/>
            </a:pPr>
            <a:r>
              <a:rPr lang="de-DE" dirty="0" smtClean="0">
                <a:solidFill>
                  <a:schemeClr val="tx2"/>
                </a:solidFill>
              </a:rPr>
              <a:t>Keine Lizenzkosten, da keine eingekaufte Lösung</a:t>
            </a:r>
            <a:endParaRPr lang="de-DE" dirty="0">
              <a:solidFill>
                <a:schemeClr val="tx2"/>
              </a:solidFill>
            </a:endParaRPr>
          </a:p>
        </p:txBody>
      </p:sp>
      <p:pic>
        <p:nvPicPr>
          <p:cNvPr id="17413" name="Picture 5" descr="U:\Projektarbeit\Präsentation\img\KostenNutze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0391" y="2520603"/>
            <a:ext cx="3191425" cy="2259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0974239"/>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3" end="3"/>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915"/>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367776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smtClean="0">
                <a:effectLst>
                  <a:outerShdw blurRad="38100" dist="38100" dir="2700000" algn="tl">
                    <a:srgbClr val="000000">
                      <a:alpha val="43137"/>
                    </a:srgbClr>
                  </a:outerShdw>
                </a:effectLst>
              </a:rPr>
              <a:t>Verwendete Sprachen</a:t>
            </a:r>
            <a:endParaRPr lang="de-DE" sz="2000" b="0" dirty="0">
              <a:effectLst>
                <a:outerShdw blurRad="38100" dist="38100" dir="2700000" algn="tl">
                  <a:srgbClr val="000000">
                    <a:alpha val="43137"/>
                  </a:srgbClr>
                </a:outerShdw>
              </a:effectLst>
            </a:endParaRP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rgbClr val="A9B5C7"/>
                </a:solidFill>
              </a:rPr>
              <a:t>Vorstellung</a:t>
            </a:r>
          </a:p>
          <a:p>
            <a:pPr marL="228600" indent="-228600">
              <a:buFont typeface="+mj-lt"/>
              <a:buAutoNum type="arabicPeriod"/>
            </a:pPr>
            <a:r>
              <a:rPr lang="de-DE" dirty="0">
                <a:solidFill>
                  <a:srgbClr val="A9B5C7"/>
                </a:solidFill>
              </a:rPr>
              <a:t>Thematik</a:t>
            </a:r>
            <a:endParaRPr lang="de-DE" dirty="0">
              <a:solidFill>
                <a:srgbClr val="A9B5C7"/>
              </a:solidFill>
            </a:endParaRPr>
          </a:p>
          <a:p>
            <a:pPr marL="228600" indent="-228600">
              <a:buFont typeface="+mj-lt"/>
              <a:buAutoNum type="arabicPeriod"/>
            </a:pPr>
            <a:r>
              <a:rPr lang="de-DE" dirty="0">
                <a:solidFill>
                  <a:srgbClr val="A9B5C7"/>
                </a:solidFill>
              </a:rPr>
              <a:t>Analyse</a:t>
            </a:r>
          </a:p>
          <a:p>
            <a:pPr marL="228600" indent="-228600">
              <a:buFont typeface="+mj-lt"/>
              <a:buAutoNum type="arabicPeriod"/>
            </a:pPr>
            <a:r>
              <a:rPr lang="de-DE" dirty="0" smtClean="0">
                <a:solidFill>
                  <a:schemeClr val="tx2"/>
                </a:solidFill>
              </a:rPr>
              <a:t>Entwurf</a:t>
            </a:r>
          </a:p>
          <a:p>
            <a:pPr marL="228600" indent="-228600">
              <a:buFont typeface="+mj-lt"/>
              <a:buAutoNum type="arabicPeriod"/>
            </a:pPr>
            <a:r>
              <a:rPr lang="de-DE" dirty="0" smtClean="0">
                <a:solidFill>
                  <a:srgbClr val="A9B5C7"/>
                </a:solidFill>
              </a:rPr>
              <a:t>Implementierung</a:t>
            </a:r>
          </a:p>
          <a:p>
            <a:pPr marL="228600" indent="-228600">
              <a:buFont typeface="+mj-lt"/>
              <a:buAutoNum type="arabicPeriod"/>
            </a:pPr>
            <a:r>
              <a:rPr lang="de-DE" dirty="0" smtClean="0">
                <a:solidFill>
                  <a:srgbClr val="A9B5C7"/>
                </a:solidFill>
              </a:rPr>
              <a:t>Fazit</a:t>
            </a:r>
          </a:p>
          <a:p>
            <a:pPr marL="228600" indent="-228600">
              <a:buFont typeface="+mj-lt"/>
              <a:buAutoNum type="arabicPeriod"/>
            </a:pPr>
            <a:r>
              <a:rPr lang="de-DE" dirty="0">
                <a:solidFill>
                  <a:srgbClr val="A9B5C7"/>
                </a:solidFill>
              </a:rPr>
              <a:t>Live Demo (evtl</a:t>
            </a:r>
            <a:r>
              <a:rPr lang="de-DE" dirty="0" smtClean="0">
                <a:solidFill>
                  <a:srgbClr val="A9B5C7"/>
                </a:solidFill>
              </a:rPr>
              <a:t>.)</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11</a:t>
            </a:fld>
            <a:endParaRPr lang="de-DE" noProof="0" dirty="0"/>
          </a:p>
        </p:txBody>
      </p:sp>
      <p:graphicFrame>
        <p:nvGraphicFramePr>
          <p:cNvPr id="5" name="Inhaltsplatzhalter 4"/>
          <p:cNvGraphicFramePr>
            <a:graphicFrameLocks noGrp="1"/>
          </p:cNvGraphicFramePr>
          <p:nvPr>
            <p:ph idx="1"/>
            <p:extLst>
              <p:ext uri="{D42A27DB-BD31-4B8C-83A1-F6EECF244321}">
                <p14:modId xmlns:p14="http://schemas.microsoft.com/office/powerpoint/2010/main" val="3827422071"/>
              </p:ext>
            </p:extLst>
          </p:nvPr>
        </p:nvGraphicFramePr>
        <p:xfrm>
          <a:off x="179388" y="1008063"/>
          <a:ext cx="5400675" cy="388778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010636608"/>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4" end="4"/>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915"/>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1729694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smtClean="0">
                <a:effectLst>
                  <a:outerShdw blurRad="38100" dist="38100" dir="2700000" algn="tl">
                    <a:srgbClr val="000000">
                      <a:alpha val="43137"/>
                    </a:srgbClr>
                  </a:outerShdw>
                </a:effectLst>
              </a:rPr>
              <a:t>SignalR</a:t>
            </a:r>
            <a:endParaRPr lang="de-DE" sz="2000" b="0" dirty="0">
              <a:effectLst>
                <a:outerShdw blurRad="38100" dist="38100" dir="2700000" algn="tl">
                  <a:srgbClr val="000000">
                    <a:alpha val="43137"/>
                  </a:srgbClr>
                </a:outerShdw>
              </a:effectLst>
            </a:endParaRP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rgbClr val="A9B5C7"/>
                </a:solidFill>
              </a:rPr>
              <a:t>Vorstellung</a:t>
            </a:r>
          </a:p>
          <a:p>
            <a:pPr marL="228600" indent="-228600">
              <a:buFont typeface="+mj-lt"/>
              <a:buAutoNum type="arabicPeriod"/>
            </a:pPr>
            <a:r>
              <a:rPr lang="de-DE" dirty="0">
                <a:solidFill>
                  <a:srgbClr val="A9B5C7"/>
                </a:solidFill>
              </a:rPr>
              <a:t>Thematik</a:t>
            </a:r>
            <a:endParaRPr lang="de-DE" dirty="0">
              <a:solidFill>
                <a:srgbClr val="A9B5C7"/>
              </a:solidFill>
            </a:endParaRPr>
          </a:p>
          <a:p>
            <a:pPr marL="228600" indent="-228600">
              <a:buFont typeface="+mj-lt"/>
              <a:buAutoNum type="arabicPeriod"/>
            </a:pPr>
            <a:r>
              <a:rPr lang="de-DE" dirty="0">
                <a:solidFill>
                  <a:srgbClr val="A9B5C7"/>
                </a:solidFill>
              </a:rPr>
              <a:t>Analyse</a:t>
            </a:r>
          </a:p>
          <a:p>
            <a:pPr marL="228600" indent="-228600">
              <a:buFont typeface="+mj-lt"/>
              <a:buAutoNum type="arabicPeriod"/>
            </a:pPr>
            <a:r>
              <a:rPr lang="de-DE" dirty="0" smtClean="0">
                <a:solidFill>
                  <a:schemeClr val="tx2"/>
                </a:solidFill>
              </a:rPr>
              <a:t>Entwurf</a:t>
            </a:r>
          </a:p>
          <a:p>
            <a:pPr marL="228600" indent="-228600">
              <a:buFont typeface="+mj-lt"/>
              <a:buAutoNum type="arabicPeriod"/>
            </a:pPr>
            <a:r>
              <a:rPr lang="de-DE" dirty="0" smtClean="0">
                <a:solidFill>
                  <a:srgbClr val="A9B5C7"/>
                </a:solidFill>
              </a:rPr>
              <a:t>Implementierung</a:t>
            </a:r>
          </a:p>
          <a:p>
            <a:pPr marL="228600" indent="-228600">
              <a:buFont typeface="+mj-lt"/>
              <a:buAutoNum type="arabicPeriod"/>
            </a:pPr>
            <a:r>
              <a:rPr lang="de-DE" dirty="0" smtClean="0">
                <a:solidFill>
                  <a:srgbClr val="A9B5C7"/>
                </a:solidFill>
              </a:rPr>
              <a:t>Fazit</a:t>
            </a:r>
          </a:p>
          <a:p>
            <a:pPr marL="228600" indent="-228600">
              <a:buFont typeface="+mj-lt"/>
              <a:buAutoNum type="arabicPeriod"/>
            </a:pPr>
            <a:r>
              <a:rPr lang="de-DE" dirty="0">
                <a:solidFill>
                  <a:srgbClr val="A9B5C7"/>
                </a:solidFill>
              </a:rPr>
              <a:t>Live Demo (evtl</a:t>
            </a:r>
            <a:r>
              <a:rPr lang="de-DE" dirty="0" smtClean="0">
                <a:solidFill>
                  <a:srgbClr val="A9B5C7"/>
                </a:solidFill>
              </a:rPr>
              <a:t>.)</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12</a:t>
            </a:fld>
            <a:endParaRPr lang="de-DE" noProof="0" dirty="0"/>
          </a:p>
        </p:txBody>
      </p:sp>
      <p:pic>
        <p:nvPicPr>
          <p:cNvPr id="22531" name="Picture 3" descr="U:\Projektarbeit\Präsentation\img\Signal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1651" y="2448595"/>
            <a:ext cx="5238021" cy="24482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9"/>
          <p:cNvSpPr txBox="1"/>
          <p:nvPr/>
        </p:nvSpPr>
        <p:spPr>
          <a:xfrm>
            <a:off x="540271" y="864419"/>
            <a:ext cx="4824536" cy="1103599"/>
          </a:xfrm>
          <a:prstGeom prst="rect">
            <a:avLst/>
          </a:prstGeom>
          <a:noFill/>
        </p:spPr>
        <p:txBody>
          <a:bodyPr wrap="square" lIns="0" tIns="0" rIns="0" bIns="0" rtlCol="0">
            <a:noAutofit/>
          </a:bodyPr>
          <a:lstStyle/>
          <a:p>
            <a:pPr marL="171450" indent="-171450" algn="ctr">
              <a:buFont typeface="Arial" pitchFamily="34" charset="0"/>
              <a:buChar char="•"/>
            </a:pPr>
            <a:r>
              <a:rPr lang="de-DE" dirty="0" smtClean="0">
                <a:solidFill>
                  <a:schemeClr val="tx2"/>
                </a:solidFill>
              </a:rPr>
              <a:t>Kein HTTP Overhead</a:t>
            </a:r>
          </a:p>
          <a:p>
            <a:pPr marL="171450" indent="-171450" algn="ctr">
              <a:buFont typeface="Arial" pitchFamily="34" charset="0"/>
              <a:buChar char="•"/>
            </a:pPr>
            <a:r>
              <a:rPr lang="de-DE" dirty="0" smtClean="0">
                <a:solidFill>
                  <a:schemeClr val="tx2"/>
                </a:solidFill>
              </a:rPr>
              <a:t>Einmal Verbunden immer Verbunden</a:t>
            </a:r>
          </a:p>
          <a:p>
            <a:pPr algn="ctr"/>
            <a:r>
              <a:rPr lang="de-DE" dirty="0" smtClean="0">
                <a:solidFill>
                  <a:schemeClr val="tx2"/>
                </a:solidFill>
              </a:rPr>
              <a:t>(Für mich: </a:t>
            </a:r>
            <a:r>
              <a:rPr lang="de-DE" dirty="0" err="1" smtClean="0">
                <a:solidFill>
                  <a:schemeClr val="tx2"/>
                </a:solidFill>
              </a:rPr>
              <a:t>Sobal</a:t>
            </a:r>
            <a:r>
              <a:rPr lang="de-DE" dirty="0" smtClean="0">
                <a:solidFill>
                  <a:schemeClr val="tx2"/>
                </a:solidFill>
              </a:rPr>
              <a:t>  sich ein Client verbindet bzw. die Seit lädt wird eine Verbindung zum SignalR Hub aufgebaut, ist diese Verbindung einmal vorhanden kann der Client die SignalR zum Server „Pushen“ ohne einen kompletten Request zu starten)</a:t>
            </a:r>
          </a:p>
          <a:p>
            <a:pPr marL="171450" indent="-171450" algn="ctr">
              <a:buFont typeface="Arial" pitchFamily="34" charset="0"/>
              <a:buChar char="•"/>
            </a:pPr>
            <a:r>
              <a:rPr lang="de-DE" dirty="0" smtClean="0">
                <a:solidFill>
                  <a:schemeClr val="tx2"/>
                </a:solidFill>
              </a:rPr>
              <a:t>Wenig Netzauslast durch Pushen</a:t>
            </a:r>
          </a:p>
          <a:p>
            <a:pPr marL="171450" indent="-171450" algn="ctr">
              <a:buFont typeface="Arial" pitchFamily="34" charset="0"/>
              <a:buChar char="•"/>
            </a:pPr>
            <a:r>
              <a:rPr lang="de-DE" dirty="0" smtClean="0">
                <a:solidFill>
                  <a:schemeClr val="tx2"/>
                </a:solidFill>
              </a:rPr>
              <a:t>Sobald ein Event des SignalR Hubs ein Signal empfängt sendet er dieses an alle verbundenen Clients</a:t>
            </a:r>
          </a:p>
          <a:p>
            <a:pPr marL="171450" indent="-171450" algn="ctr">
              <a:buFont typeface="Arial" pitchFamily="34" charset="0"/>
              <a:buChar char="•"/>
            </a:pPr>
            <a:endParaRPr lang="de-DE" dirty="0">
              <a:solidFill>
                <a:schemeClr val="tx2"/>
              </a:solidFill>
            </a:endParaRPr>
          </a:p>
          <a:p>
            <a:pPr marL="171450" indent="-171450" algn="ctr">
              <a:buFont typeface="Arial" pitchFamily="34" charset="0"/>
              <a:buChar char="•"/>
            </a:pPr>
            <a:endParaRPr lang="de-DE" dirty="0" err="1" smtClean="0">
              <a:solidFill>
                <a:schemeClr val="tx2"/>
              </a:solidFill>
            </a:endParaRPr>
          </a:p>
        </p:txBody>
      </p:sp>
    </p:spTree>
    <p:extLst>
      <p:ext uri="{BB962C8B-B14F-4D97-AF65-F5344CB8AC3E}">
        <p14:creationId xmlns:p14="http://schemas.microsoft.com/office/powerpoint/2010/main" val="1798691230"/>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4" end="4"/>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915"/>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21784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smtClean="0">
                <a:effectLst>
                  <a:outerShdw blurRad="38100" dist="38100" dir="2700000" algn="tl">
                    <a:srgbClr val="000000">
                      <a:alpha val="43137"/>
                    </a:srgbClr>
                  </a:outerShdw>
                </a:effectLst>
              </a:rPr>
              <a:t>Aktivitätsdiagramm</a:t>
            </a:r>
            <a:endParaRPr lang="de-DE" sz="2000" b="0" dirty="0">
              <a:effectLst>
                <a:outerShdw blurRad="38100" dist="38100" dir="2700000" algn="tl">
                  <a:srgbClr val="000000">
                    <a:alpha val="43137"/>
                  </a:srgbClr>
                </a:outerShdw>
              </a:effectLst>
            </a:endParaRP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rgbClr val="A9B5C7"/>
                </a:solidFill>
              </a:rPr>
              <a:t>Vorstellung</a:t>
            </a:r>
          </a:p>
          <a:p>
            <a:pPr marL="228600" indent="-228600">
              <a:buFont typeface="+mj-lt"/>
              <a:buAutoNum type="arabicPeriod"/>
            </a:pPr>
            <a:r>
              <a:rPr lang="de-DE" dirty="0">
                <a:solidFill>
                  <a:srgbClr val="A9B5C7"/>
                </a:solidFill>
              </a:rPr>
              <a:t>Thematik</a:t>
            </a:r>
            <a:endParaRPr lang="de-DE" dirty="0">
              <a:solidFill>
                <a:srgbClr val="A9B5C7"/>
              </a:solidFill>
            </a:endParaRPr>
          </a:p>
          <a:p>
            <a:pPr marL="228600" indent="-228600">
              <a:buFont typeface="+mj-lt"/>
              <a:buAutoNum type="arabicPeriod"/>
            </a:pPr>
            <a:r>
              <a:rPr lang="de-DE" dirty="0">
                <a:solidFill>
                  <a:srgbClr val="A9B5C7"/>
                </a:solidFill>
              </a:rPr>
              <a:t>Analyse</a:t>
            </a:r>
          </a:p>
          <a:p>
            <a:pPr marL="228600" indent="-228600">
              <a:buFont typeface="+mj-lt"/>
              <a:buAutoNum type="arabicPeriod"/>
            </a:pPr>
            <a:r>
              <a:rPr lang="de-DE" dirty="0" smtClean="0">
                <a:solidFill>
                  <a:schemeClr val="tx2"/>
                </a:solidFill>
              </a:rPr>
              <a:t>Entwurf</a:t>
            </a:r>
          </a:p>
          <a:p>
            <a:pPr marL="228600" indent="-228600">
              <a:buFont typeface="+mj-lt"/>
              <a:buAutoNum type="arabicPeriod"/>
            </a:pPr>
            <a:r>
              <a:rPr lang="de-DE" dirty="0" smtClean="0">
                <a:solidFill>
                  <a:srgbClr val="A9B5C7"/>
                </a:solidFill>
              </a:rPr>
              <a:t>Implementierung</a:t>
            </a:r>
          </a:p>
          <a:p>
            <a:pPr marL="228600" indent="-228600">
              <a:buFont typeface="+mj-lt"/>
              <a:buAutoNum type="arabicPeriod"/>
            </a:pPr>
            <a:r>
              <a:rPr lang="de-DE" dirty="0" smtClean="0">
                <a:solidFill>
                  <a:srgbClr val="A9B5C7"/>
                </a:solidFill>
              </a:rPr>
              <a:t>Fazit</a:t>
            </a:r>
          </a:p>
          <a:p>
            <a:pPr marL="228600" indent="-228600">
              <a:buFont typeface="+mj-lt"/>
              <a:buAutoNum type="arabicPeriod"/>
            </a:pPr>
            <a:r>
              <a:rPr lang="de-DE" dirty="0">
                <a:solidFill>
                  <a:srgbClr val="A9B5C7"/>
                </a:solidFill>
              </a:rPr>
              <a:t>Live Demo (evtl</a:t>
            </a:r>
            <a:r>
              <a:rPr lang="de-DE" dirty="0" smtClean="0">
                <a:solidFill>
                  <a:srgbClr val="A9B5C7"/>
                </a:solidFill>
              </a:rPr>
              <a:t>.)</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13</a:t>
            </a:fld>
            <a:endParaRPr lang="de-DE" noProof="0" dirty="0"/>
          </a:p>
        </p:txBody>
      </p:sp>
      <p:pic>
        <p:nvPicPr>
          <p:cNvPr id="11" name="Picture 2" descr="U:\Projektarbeit\Präsentation\img\AblaufFrontendPN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4247" y="720403"/>
            <a:ext cx="5184576" cy="4281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073707"/>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4" end="4"/>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60" y="-22916"/>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119085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smtClean="0">
                <a:effectLst>
                  <a:outerShdw blurRad="38100" dist="38100" dir="2700000" algn="tl">
                    <a:srgbClr val="000000">
                      <a:alpha val="43137"/>
                    </a:srgbClr>
                  </a:outerShdw>
                </a:effectLst>
              </a:rPr>
              <a:t>Laden des Modularen Chats</a:t>
            </a:r>
            <a:endParaRPr lang="de-DE" sz="2000" b="0" dirty="0">
              <a:effectLst>
                <a:outerShdw blurRad="38100" dist="38100" dir="2700000" algn="tl">
                  <a:srgbClr val="000000">
                    <a:alpha val="43137"/>
                  </a:srgbClr>
                </a:outerShdw>
              </a:effectLst>
            </a:endParaRP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rgbClr val="A9B5C7"/>
                </a:solidFill>
              </a:rPr>
              <a:t>Vorstellung</a:t>
            </a:r>
          </a:p>
          <a:p>
            <a:pPr marL="228600" indent="-228600">
              <a:buFont typeface="+mj-lt"/>
              <a:buAutoNum type="arabicPeriod"/>
            </a:pPr>
            <a:r>
              <a:rPr lang="de-DE" dirty="0">
                <a:solidFill>
                  <a:srgbClr val="A9B5C7"/>
                </a:solidFill>
              </a:rPr>
              <a:t>Thematik</a:t>
            </a:r>
            <a:endParaRPr lang="de-DE" dirty="0">
              <a:solidFill>
                <a:srgbClr val="A9B5C7"/>
              </a:solidFill>
            </a:endParaRPr>
          </a:p>
          <a:p>
            <a:pPr marL="228600" indent="-228600">
              <a:buFont typeface="+mj-lt"/>
              <a:buAutoNum type="arabicPeriod"/>
            </a:pPr>
            <a:r>
              <a:rPr lang="de-DE" dirty="0">
                <a:solidFill>
                  <a:srgbClr val="A9B5C7"/>
                </a:solidFill>
              </a:rPr>
              <a:t>Analyse</a:t>
            </a:r>
          </a:p>
          <a:p>
            <a:pPr marL="228600" indent="-228600">
              <a:buFont typeface="+mj-lt"/>
              <a:buAutoNum type="arabicPeriod"/>
            </a:pPr>
            <a:r>
              <a:rPr lang="de-DE" dirty="0">
                <a:solidFill>
                  <a:srgbClr val="A9B5C7"/>
                </a:solidFill>
              </a:rPr>
              <a:t>Entwurf</a:t>
            </a:r>
          </a:p>
          <a:p>
            <a:pPr marL="228600" indent="-228600">
              <a:buFont typeface="+mj-lt"/>
              <a:buAutoNum type="arabicPeriod"/>
            </a:pPr>
            <a:r>
              <a:rPr lang="de-DE" dirty="0" smtClean="0">
                <a:solidFill>
                  <a:schemeClr val="tx2"/>
                </a:solidFill>
              </a:rPr>
              <a:t>Implementierung</a:t>
            </a:r>
          </a:p>
          <a:p>
            <a:pPr marL="228600" indent="-228600">
              <a:buFont typeface="+mj-lt"/>
              <a:buAutoNum type="arabicPeriod"/>
            </a:pPr>
            <a:r>
              <a:rPr lang="de-DE" dirty="0" smtClean="0">
                <a:solidFill>
                  <a:srgbClr val="A9B5C7"/>
                </a:solidFill>
              </a:rPr>
              <a:t>Fazit</a:t>
            </a:r>
          </a:p>
          <a:p>
            <a:pPr marL="228600" indent="-228600">
              <a:buFont typeface="+mj-lt"/>
              <a:buAutoNum type="arabicPeriod"/>
            </a:pPr>
            <a:r>
              <a:rPr lang="de-DE" dirty="0" smtClean="0">
                <a:solidFill>
                  <a:srgbClr val="A9B5C7"/>
                </a:solidFill>
              </a:rPr>
              <a:t>Live Demo (evtl.)</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14</a:t>
            </a:fld>
            <a:endParaRPr lang="de-DE" noProof="0" dirty="0"/>
          </a:p>
        </p:txBody>
      </p:sp>
      <p:sp>
        <p:nvSpPr>
          <p:cNvPr id="13" name="Inhaltsplatzhalter 4"/>
          <p:cNvSpPr>
            <a:spLocks noGrp="1"/>
          </p:cNvSpPr>
          <p:nvPr>
            <p:ph idx="1"/>
          </p:nvPr>
        </p:nvSpPr>
        <p:spPr>
          <a:xfrm>
            <a:off x="179388" y="1008063"/>
            <a:ext cx="5400675" cy="3887787"/>
          </a:xfrm>
        </p:spPr>
        <p:txBody>
          <a:bodyPr/>
          <a:lstStyle/>
          <a:p>
            <a:endParaRPr lang="de-DE" dirty="0" smtClean="0"/>
          </a:p>
          <a:p>
            <a:pPr marL="171450" indent="-171450" algn="ctr">
              <a:buFont typeface="Arial" pitchFamily="34" charset="0"/>
              <a:buChar char="•"/>
            </a:pPr>
            <a:r>
              <a:rPr lang="de-DE" dirty="0" smtClean="0">
                <a:solidFill>
                  <a:schemeClr val="tx2"/>
                </a:solidFill>
              </a:rPr>
              <a:t>Folgende Methode wird aufgerufen, sobald der Benutzer die Seite öffnet</a:t>
            </a:r>
          </a:p>
          <a:p>
            <a:r>
              <a:rPr lang="de-DE" dirty="0" err="1" smtClean="0"/>
              <a:t>public</a:t>
            </a:r>
            <a:r>
              <a:rPr lang="de-DE" dirty="0" smtClean="0"/>
              <a:t> </a:t>
            </a:r>
            <a:r>
              <a:rPr lang="de-DE" dirty="0" err="1" smtClean="0"/>
              <a:t>ActionResult</a:t>
            </a:r>
            <a:r>
              <a:rPr lang="de-DE" dirty="0" smtClean="0"/>
              <a:t> </a:t>
            </a:r>
            <a:r>
              <a:rPr lang="de-DE" dirty="0" err="1" smtClean="0"/>
              <a:t>GetChat</a:t>
            </a:r>
            <a:r>
              <a:rPr lang="de-DE" dirty="0" smtClean="0"/>
              <a:t>(</a:t>
            </a:r>
            <a:r>
              <a:rPr lang="de-DE" dirty="0" err="1" smtClean="0"/>
              <a:t>bool</a:t>
            </a:r>
            <a:r>
              <a:rPr lang="de-DE" dirty="0" smtClean="0"/>
              <a:t> partial, </a:t>
            </a:r>
            <a:r>
              <a:rPr lang="de-DE" dirty="0" err="1" smtClean="0"/>
              <a:t>int</a:t>
            </a:r>
            <a:r>
              <a:rPr lang="de-DE" dirty="0" smtClean="0"/>
              <a:t> </a:t>
            </a:r>
            <a:r>
              <a:rPr lang="de-DE" dirty="0" err="1" smtClean="0"/>
              <a:t>currentUserId</a:t>
            </a:r>
            <a:r>
              <a:rPr lang="de-DE" dirty="0" smtClean="0"/>
              <a:t>)         </a:t>
            </a:r>
          </a:p>
          <a:p>
            <a:r>
              <a:rPr lang="de-DE" dirty="0" smtClean="0"/>
              <a:t>{             </a:t>
            </a:r>
          </a:p>
          <a:p>
            <a:r>
              <a:rPr lang="de-DE" dirty="0" smtClean="0"/>
              <a:t>	</a:t>
            </a:r>
            <a:r>
              <a:rPr lang="de-DE" dirty="0" err="1" smtClean="0"/>
              <a:t>var</a:t>
            </a:r>
            <a:r>
              <a:rPr lang="de-DE" dirty="0" smtClean="0"/>
              <a:t> </a:t>
            </a:r>
            <a:r>
              <a:rPr lang="de-DE" dirty="0" err="1" smtClean="0"/>
              <a:t>request</a:t>
            </a:r>
            <a:r>
              <a:rPr lang="de-DE" dirty="0" smtClean="0"/>
              <a:t> = Request;             </a:t>
            </a:r>
          </a:p>
          <a:p>
            <a:r>
              <a:rPr lang="de-DE" dirty="0"/>
              <a:t>	</a:t>
            </a:r>
            <a:r>
              <a:rPr lang="de-DE" dirty="0" err="1" smtClean="0"/>
              <a:t>ViewBag.Partial</a:t>
            </a:r>
            <a:r>
              <a:rPr lang="de-DE" dirty="0" smtClean="0"/>
              <a:t> = partial;             </a:t>
            </a:r>
          </a:p>
          <a:p>
            <a:r>
              <a:rPr lang="de-DE" dirty="0"/>
              <a:t>	</a:t>
            </a:r>
            <a:r>
              <a:rPr lang="de-DE" dirty="0" err="1" smtClean="0"/>
              <a:t>ViewBag.CurrentUserId</a:t>
            </a:r>
            <a:r>
              <a:rPr lang="de-DE" dirty="0" smtClean="0"/>
              <a:t> = </a:t>
            </a:r>
            <a:r>
              <a:rPr lang="de-DE" dirty="0" err="1" smtClean="0"/>
              <a:t>currentUserId</a:t>
            </a:r>
            <a:r>
              <a:rPr lang="de-DE" dirty="0" smtClean="0"/>
              <a:t>;             </a:t>
            </a:r>
          </a:p>
          <a:p>
            <a:r>
              <a:rPr lang="de-DE" dirty="0"/>
              <a:t>	</a:t>
            </a:r>
            <a:r>
              <a:rPr lang="de-DE" dirty="0" err="1" smtClean="0"/>
              <a:t>if</a:t>
            </a:r>
            <a:r>
              <a:rPr lang="de-DE" dirty="0" smtClean="0"/>
              <a:t> (partial == </a:t>
            </a:r>
            <a:r>
              <a:rPr lang="de-DE" dirty="0" err="1" smtClean="0"/>
              <a:t>true</a:t>
            </a:r>
            <a:r>
              <a:rPr lang="de-DE" dirty="0" smtClean="0"/>
              <a:t>)             </a:t>
            </a:r>
          </a:p>
          <a:p>
            <a:r>
              <a:rPr lang="de-DE" dirty="0"/>
              <a:t>	</a:t>
            </a:r>
            <a:r>
              <a:rPr lang="de-DE" dirty="0" smtClean="0"/>
              <a:t>{                 </a:t>
            </a:r>
          </a:p>
          <a:p>
            <a:r>
              <a:rPr lang="de-DE" dirty="0"/>
              <a:t>	</a:t>
            </a:r>
            <a:r>
              <a:rPr lang="de-DE" dirty="0" err="1" smtClean="0"/>
              <a:t>return</a:t>
            </a:r>
            <a:r>
              <a:rPr lang="de-DE" dirty="0" smtClean="0"/>
              <a:t> </a:t>
            </a:r>
            <a:r>
              <a:rPr lang="de-DE" dirty="0" err="1" smtClean="0"/>
              <a:t>PartialView</a:t>
            </a:r>
            <a:r>
              <a:rPr lang="de-DE" dirty="0" smtClean="0"/>
              <a:t>("~/Views/</a:t>
            </a:r>
            <a:r>
              <a:rPr lang="de-DE" dirty="0" err="1" smtClean="0"/>
              <a:t>Chatlogs</a:t>
            </a:r>
            <a:r>
              <a:rPr lang="de-DE" dirty="0" smtClean="0"/>
              <a:t>/</a:t>
            </a:r>
            <a:r>
              <a:rPr lang="de-DE" dirty="0" err="1" smtClean="0"/>
              <a:t>Index.cshtml</a:t>
            </a:r>
            <a:r>
              <a:rPr lang="de-DE" dirty="0" smtClean="0"/>
              <a:t>");             </a:t>
            </a:r>
          </a:p>
          <a:p>
            <a:r>
              <a:rPr lang="de-DE" dirty="0"/>
              <a:t>	</a:t>
            </a:r>
            <a:r>
              <a:rPr lang="de-DE" dirty="0" smtClean="0"/>
              <a:t>}</a:t>
            </a:r>
          </a:p>
          <a:p>
            <a:r>
              <a:rPr lang="de-DE" dirty="0" smtClean="0"/>
              <a:t>             </a:t>
            </a:r>
            <a:r>
              <a:rPr lang="de-DE" dirty="0" err="1" smtClean="0"/>
              <a:t>else</a:t>
            </a:r>
            <a:endParaRPr lang="de-DE" dirty="0" smtClean="0"/>
          </a:p>
          <a:p>
            <a:r>
              <a:rPr lang="de-DE" dirty="0" smtClean="0"/>
              <a:t>             { </a:t>
            </a:r>
          </a:p>
          <a:p>
            <a:r>
              <a:rPr lang="de-DE" dirty="0" smtClean="0"/>
              <a:t>                </a:t>
            </a:r>
            <a:r>
              <a:rPr lang="de-DE" dirty="0" err="1" smtClean="0"/>
              <a:t>return</a:t>
            </a:r>
            <a:r>
              <a:rPr lang="de-DE" dirty="0" smtClean="0"/>
              <a:t> View("~/Views/</a:t>
            </a:r>
            <a:r>
              <a:rPr lang="de-DE" dirty="0" err="1" smtClean="0"/>
              <a:t>Chatlogs</a:t>
            </a:r>
            <a:r>
              <a:rPr lang="de-DE" dirty="0" smtClean="0"/>
              <a:t>/</a:t>
            </a:r>
            <a:r>
              <a:rPr lang="de-DE" dirty="0" err="1" smtClean="0"/>
              <a:t>Index.cshtml</a:t>
            </a:r>
            <a:r>
              <a:rPr lang="de-DE" dirty="0" smtClean="0"/>
              <a:t>");</a:t>
            </a:r>
          </a:p>
          <a:p>
            <a:r>
              <a:rPr lang="de-DE" dirty="0" smtClean="0"/>
              <a:t>             } </a:t>
            </a:r>
          </a:p>
          <a:p>
            <a:r>
              <a:rPr lang="de-DE" dirty="0" smtClean="0"/>
              <a:t>} </a:t>
            </a:r>
            <a:endParaRPr lang="de-DE" dirty="0" smtClean="0">
              <a:solidFill>
                <a:schemeClr val="tx2"/>
              </a:solidFill>
            </a:endParaRPr>
          </a:p>
        </p:txBody>
      </p:sp>
      <p:sp>
        <p:nvSpPr>
          <p:cNvPr id="7" name="Pfeil nach unten 6"/>
          <p:cNvSpPr/>
          <p:nvPr/>
        </p:nvSpPr>
        <p:spPr bwMode="gray">
          <a:xfrm rot="7379537">
            <a:off x="3738409" y="1593098"/>
            <a:ext cx="216024" cy="360040"/>
          </a:xfrm>
          <a:prstGeom prst="downArrow">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ysClr val="windowText" lastClr="000000"/>
              </a:solidFill>
            </a:endParaRPr>
          </a:p>
        </p:txBody>
      </p:sp>
      <p:sp>
        <p:nvSpPr>
          <p:cNvPr id="10" name="Textfeld 9"/>
          <p:cNvSpPr txBox="1"/>
          <p:nvPr/>
        </p:nvSpPr>
        <p:spPr>
          <a:xfrm>
            <a:off x="4716735" y="936427"/>
            <a:ext cx="914400" cy="914400"/>
          </a:xfrm>
          <a:prstGeom prst="rect">
            <a:avLst/>
          </a:prstGeom>
          <a:noFill/>
        </p:spPr>
        <p:txBody>
          <a:bodyPr wrap="none" lIns="0" tIns="0" rIns="0" bIns="0" rtlCol="0">
            <a:noAutofit/>
          </a:bodyPr>
          <a:lstStyle/>
          <a:p>
            <a:endParaRPr lang="de-DE" dirty="0" err="1" smtClean="0"/>
          </a:p>
        </p:txBody>
      </p:sp>
      <p:sp>
        <p:nvSpPr>
          <p:cNvPr id="15" name="Textfeld 14"/>
          <p:cNvSpPr txBox="1"/>
          <p:nvPr/>
        </p:nvSpPr>
        <p:spPr>
          <a:xfrm>
            <a:off x="4076518" y="1663895"/>
            <a:ext cx="847797" cy="373864"/>
          </a:xfrm>
          <a:prstGeom prst="rect">
            <a:avLst/>
          </a:prstGeom>
          <a:solidFill>
            <a:schemeClr val="accent2"/>
          </a:solidFill>
        </p:spPr>
        <p:txBody>
          <a:bodyPr wrap="square" lIns="0" tIns="0" rIns="0" bIns="0" rtlCol="0">
            <a:noAutofit/>
          </a:bodyPr>
          <a:lstStyle/>
          <a:p>
            <a:r>
              <a:rPr lang="de-DE" dirty="0" smtClean="0">
                <a:solidFill>
                  <a:schemeClr val="bg1"/>
                </a:solidFill>
              </a:rPr>
              <a:t>Später </a:t>
            </a:r>
            <a:r>
              <a:rPr lang="de-DE" dirty="0" err="1" smtClean="0">
                <a:solidFill>
                  <a:schemeClr val="bg1"/>
                </a:solidFill>
              </a:rPr>
              <a:t>MitarbeiterID</a:t>
            </a:r>
            <a:endParaRPr lang="de-DE" dirty="0" smtClean="0">
              <a:solidFill>
                <a:schemeClr val="bg1"/>
              </a:solidFill>
            </a:endParaRPr>
          </a:p>
        </p:txBody>
      </p:sp>
      <p:sp>
        <p:nvSpPr>
          <p:cNvPr id="16" name="Pfeil nach unten 15"/>
          <p:cNvSpPr/>
          <p:nvPr/>
        </p:nvSpPr>
        <p:spPr bwMode="gray">
          <a:xfrm rot="6604812">
            <a:off x="3523612" y="2532692"/>
            <a:ext cx="216024" cy="349414"/>
          </a:xfrm>
          <a:prstGeom prst="downArrow">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ysClr val="windowText" lastClr="000000"/>
              </a:solidFill>
            </a:endParaRPr>
          </a:p>
        </p:txBody>
      </p:sp>
      <p:sp>
        <p:nvSpPr>
          <p:cNvPr id="17" name="Textfeld 16"/>
          <p:cNvSpPr txBox="1"/>
          <p:nvPr/>
        </p:nvSpPr>
        <p:spPr>
          <a:xfrm>
            <a:off x="3832796" y="2610613"/>
            <a:ext cx="1426418" cy="324036"/>
          </a:xfrm>
          <a:prstGeom prst="rect">
            <a:avLst/>
          </a:prstGeom>
          <a:solidFill>
            <a:schemeClr val="accent2"/>
          </a:solidFill>
        </p:spPr>
        <p:txBody>
          <a:bodyPr wrap="square" lIns="0" tIns="0" rIns="0" bIns="0" rtlCol="0">
            <a:noAutofit/>
          </a:bodyPr>
          <a:lstStyle/>
          <a:p>
            <a:r>
              <a:rPr lang="de-DE" dirty="0" smtClean="0">
                <a:solidFill>
                  <a:schemeClr val="bg1"/>
                </a:solidFill>
              </a:rPr>
              <a:t>Übergibt die ID an die View</a:t>
            </a:r>
            <a:endParaRPr lang="de-DE" dirty="0" smtClean="0">
              <a:solidFill>
                <a:schemeClr val="bg1"/>
              </a:solidFill>
            </a:endParaRPr>
          </a:p>
        </p:txBody>
      </p:sp>
      <p:sp>
        <p:nvSpPr>
          <p:cNvPr id="18" name="Pfeil nach unten 17"/>
          <p:cNvSpPr/>
          <p:nvPr/>
        </p:nvSpPr>
        <p:spPr bwMode="gray">
          <a:xfrm rot="7379537">
            <a:off x="4100616" y="3321291"/>
            <a:ext cx="216024" cy="360040"/>
          </a:xfrm>
          <a:prstGeom prst="downArrow">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ysClr val="windowText" lastClr="000000"/>
              </a:solidFill>
            </a:endParaRPr>
          </a:p>
        </p:txBody>
      </p:sp>
      <p:sp>
        <p:nvSpPr>
          <p:cNvPr id="19" name="Textfeld 18"/>
          <p:cNvSpPr txBox="1"/>
          <p:nvPr/>
        </p:nvSpPr>
        <p:spPr>
          <a:xfrm>
            <a:off x="4425821" y="3456707"/>
            <a:ext cx="1426418" cy="360040"/>
          </a:xfrm>
          <a:prstGeom prst="rect">
            <a:avLst/>
          </a:prstGeom>
          <a:solidFill>
            <a:schemeClr val="accent2"/>
          </a:solidFill>
        </p:spPr>
        <p:txBody>
          <a:bodyPr wrap="square" lIns="0" tIns="0" rIns="0" bIns="0" rtlCol="0">
            <a:noAutofit/>
          </a:bodyPr>
          <a:lstStyle/>
          <a:p>
            <a:r>
              <a:rPr lang="de-DE" dirty="0" smtClean="0">
                <a:solidFill>
                  <a:schemeClr val="bg1"/>
                </a:solidFill>
              </a:rPr>
              <a:t>Lädt die View als eine Partial View</a:t>
            </a:r>
            <a:endParaRPr lang="de-DE" dirty="0" smtClean="0">
              <a:solidFill>
                <a:schemeClr val="bg1"/>
              </a:solidFill>
            </a:endParaRPr>
          </a:p>
        </p:txBody>
      </p:sp>
    </p:spTree>
    <p:extLst>
      <p:ext uri="{BB962C8B-B14F-4D97-AF65-F5344CB8AC3E}">
        <p14:creationId xmlns:p14="http://schemas.microsoft.com/office/powerpoint/2010/main" val="2638925493"/>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5" end="5"/>
                                            </p:txEl>
                                          </p:spTgt>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p:cTn id="16" dur="500" fill="hold"/>
                                        <p:tgtEl>
                                          <p:spTgt spid="15"/>
                                        </p:tgtEl>
                                        <p:attrNameLst>
                                          <p:attrName>ppt_w</p:attrName>
                                        </p:attrNameLst>
                                      </p:cBhvr>
                                      <p:tavLst>
                                        <p:tav tm="0">
                                          <p:val>
                                            <p:fltVal val="0"/>
                                          </p:val>
                                        </p:tav>
                                        <p:tav tm="100000">
                                          <p:val>
                                            <p:strVal val="#ppt_w"/>
                                          </p:val>
                                        </p:tav>
                                      </p:tavLst>
                                    </p:anim>
                                    <p:anim calcmode="lin" valueType="num">
                                      <p:cBhvr>
                                        <p:cTn id="17" dur="500" fill="hold"/>
                                        <p:tgtEl>
                                          <p:spTgt spid="15"/>
                                        </p:tgtEl>
                                        <p:attrNameLst>
                                          <p:attrName>ppt_h</p:attrName>
                                        </p:attrNameLst>
                                      </p:cBhvr>
                                      <p:tavLst>
                                        <p:tav tm="0">
                                          <p:val>
                                            <p:fltVal val="0"/>
                                          </p:val>
                                        </p:tav>
                                        <p:tav tm="100000">
                                          <p:val>
                                            <p:strVal val="#ppt_h"/>
                                          </p:val>
                                        </p:tav>
                                      </p:tavLst>
                                    </p:anim>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53" presetClass="entr" presetSubtype="16"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p:cTn id="23" dur="500" fill="hold"/>
                                        <p:tgtEl>
                                          <p:spTgt spid="16"/>
                                        </p:tgtEl>
                                        <p:attrNameLst>
                                          <p:attrName>ppt_w</p:attrName>
                                        </p:attrNameLst>
                                      </p:cBhvr>
                                      <p:tavLst>
                                        <p:tav tm="0">
                                          <p:val>
                                            <p:fltVal val="0"/>
                                          </p:val>
                                        </p:tav>
                                        <p:tav tm="100000">
                                          <p:val>
                                            <p:strVal val="#ppt_w"/>
                                          </p:val>
                                        </p:tav>
                                      </p:tavLst>
                                    </p:anim>
                                    <p:anim calcmode="lin" valueType="num">
                                      <p:cBhvr>
                                        <p:cTn id="24" dur="500" fill="hold"/>
                                        <p:tgtEl>
                                          <p:spTgt spid="16"/>
                                        </p:tgtEl>
                                        <p:attrNameLst>
                                          <p:attrName>ppt_h</p:attrName>
                                        </p:attrNameLst>
                                      </p:cBhvr>
                                      <p:tavLst>
                                        <p:tav tm="0">
                                          <p:val>
                                            <p:fltVal val="0"/>
                                          </p:val>
                                        </p:tav>
                                        <p:tav tm="100000">
                                          <p:val>
                                            <p:strVal val="#ppt_h"/>
                                          </p:val>
                                        </p:tav>
                                      </p:tavLst>
                                    </p:anim>
                                    <p:animEffect transition="in" filter="fade">
                                      <p:cBhvr>
                                        <p:cTn id="25" dur="500"/>
                                        <p:tgtEl>
                                          <p:spTgt spid="16"/>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17"/>
                                        </p:tgtEl>
                                        <p:attrNameLst>
                                          <p:attrName>style.visibility</p:attrName>
                                        </p:attrNameLst>
                                      </p:cBhvr>
                                      <p:to>
                                        <p:strVal val="visible"/>
                                      </p:to>
                                    </p:set>
                                    <p:anim calcmode="lin" valueType="num">
                                      <p:cBhvr>
                                        <p:cTn id="28" dur="500" fill="hold"/>
                                        <p:tgtEl>
                                          <p:spTgt spid="17"/>
                                        </p:tgtEl>
                                        <p:attrNameLst>
                                          <p:attrName>ppt_w</p:attrName>
                                        </p:attrNameLst>
                                      </p:cBhvr>
                                      <p:tavLst>
                                        <p:tav tm="0">
                                          <p:val>
                                            <p:fltVal val="0"/>
                                          </p:val>
                                        </p:tav>
                                        <p:tav tm="100000">
                                          <p:val>
                                            <p:strVal val="#ppt_w"/>
                                          </p:val>
                                        </p:tav>
                                      </p:tavLst>
                                    </p:anim>
                                    <p:anim calcmode="lin" valueType="num">
                                      <p:cBhvr>
                                        <p:cTn id="29" dur="500" fill="hold"/>
                                        <p:tgtEl>
                                          <p:spTgt spid="17"/>
                                        </p:tgtEl>
                                        <p:attrNameLst>
                                          <p:attrName>ppt_h</p:attrName>
                                        </p:attrNameLst>
                                      </p:cBhvr>
                                      <p:tavLst>
                                        <p:tav tm="0">
                                          <p:val>
                                            <p:fltVal val="0"/>
                                          </p:val>
                                        </p:tav>
                                        <p:tav tm="100000">
                                          <p:val>
                                            <p:strVal val="#ppt_h"/>
                                          </p:val>
                                        </p:tav>
                                      </p:tavLst>
                                    </p:anim>
                                    <p:animEffect transition="in" filter="fade">
                                      <p:cBhvr>
                                        <p:cTn id="30" dur="500"/>
                                        <p:tgtEl>
                                          <p:spTgt spid="17"/>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p:cTn id="35" dur="500" fill="hold"/>
                                        <p:tgtEl>
                                          <p:spTgt spid="18"/>
                                        </p:tgtEl>
                                        <p:attrNameLst>
                                          <p:attrName>ppt_w</p:attrName>
                                        </p:attrNameLst>
                                      </p:cBhvr>
                                      <p:tavLst>
                                        <p:tav tm="0">
                                          <p:val>
                                            <p:fltVal val="0"/>
                                          </p:val>
                                        </p:tav>
                                        <p:tav tm="100000">
                                          <p:val>
                                            <p:strVal val="#ppt_w"/>
                                          </p:val>
                                        </p:tav>
                                      </p:tavLst>
                                    </p:anim>
                                    <p:anim calcmode="lin" valueType="num">
                                      <p:cBhvr>
                                        <p:cTn id="36" dur="500" fill="hold"/>
                                        <p:tgtEl>
                                          <p:spTgt spid="18"/>
                                        </p:tgtEl>
                                        <p:attrNameLst>
                                          <p:attrName>ppt_h</p:attrName>
                                        </p:attrNameLst>
                                      </p:cBhvr>
                                      <p:tavLst>
                                        <p:tav tm="0">
                                          <p:val>
                                            <p:fltVal val="0"/>
                                          </p:val>
                                        </p:tav>
                                        <p:tav tm="100000">
                                          <p:val>
                                            <p:strVal val="#ppt_h"/>
                                          </p:val>
                                        </p:tav>
                                      </p:tavLst>
                                    </p:anim>
                                    <p:animEffect transition="in" filter="fade">
                                      <p:cBhvr>
                                        <p:cTn id="37" dur="500"/>
                                        <p:tgtEl>
                                          <p:spTgt spid="18"/>
                                        </p:tgtEl>
                                      </p:cBhvr>
                                    </p:animEffect>
                                  </p:childTnLst>
                                </p:cTn>
                              </p:par>
                              <p:par>
                                <p:cTn id="38" presetID="53" presetClass="entr" presetSubtype="16" fill="hold" grpId="0" nodeType="withEffect">
                                  <p:stCondLst>
                                    <p:cond delay="0"/>
                                  </p:stCondLst>
                                  <p:childTnLst>
                                    <p:set>
                                      <p:cBhvr>
                                        <p:cTn id="39" dur="1" fill="hold">
                                          <p:stCondLst>
                                            <p:cond delay="0"/>
                                          </p:stCondLst>
                                        </p:cTn>
                                        <p:tgtEl>
                                          <p:spTgt spid="19"/>
                                        </p:tgtEl>
                                        <p:attrNameLst>
                                          <p:attrName>style.visibility</p:attrName>
                                        </p:attrNameLst>
                                      </p:cBhvr>
                                      <p:to>
                                        <p:strVal val="visible"/>
                                      </p:to>
                                    </p:set>
                                    <p:anim calcmode="lin" valueType="num">
                                      <p:cBhvr>
                                        <p:cTn id="40" dur="500" fill="hold"/>
                                        <p:tgtEl>
                                          <p:spTgt spid="19"/>
                                        </p:tgtEl>
                                        <p:attrNameLst>
                                          <p:attrName>ppt_w</p:attrName>
                                        </p:attrNameLst>
                                      </p:cBhvr>
                                      <p:tavLst>
                                        <p:tav tm="0">
                                          <p:val>
                                            <p:fltVal val="0"/>
                                          </p:val>
                                        </p:tav>
                                        <p:tav tm="100000">
                                          <p:val>
                                            <p:strVal val="#ppt_w"/>
                                          </p:val>
                                        </p:tav>
                                      </p:tavLst>
                                    </p:anim>
                                    <p:anim calcmode="lin" valueType="num">
                                      <p:cBhvr>
                                        <p:cTn id="41" dur="500" fill="hold"/>
                                        <p:tgtEl>
                                          <p:spTgt spid="19"/>
                                        </p:tgtEl>
                                        <p:attrNameLst>
                                          <p:attrName>ppt_h</p:attrName>
                                        </p:attrNameLst>
                                      </p:cBhvr>
                                      <p:tavLst>
                                        <p:tav tm="0">
                                          <p:val>
                                            <p:fltVal val="0"/>
                                          </p:val>
                                        </p:tav>
                                        <p:tav tm="100000">
                                          <p:val>
                                            <p:strVal val="#ppt_h"/>
                                          </p:val>
                                        </p:tav>
                                      </p:tavLst>
                                    </p:anim>
                                    <p:animEffect transition="in" filter="fade">
                                      <p:cBhvr>
                                        <p:cTn id="4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5" grpId="0" animBg="1"/>
      <p:bldP spid="16" grpId="0" animBg="1"/>
      <p:bldP spid="17" grpId="0" animBg="1"/>
      <p:bldP spid="18" grpId="0" animBg="1"/>
      <p:bldP spid="1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60" y="-22916"/>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200426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smtClean="0">
                <a:effectLst>
                  <a:outerShdw blurRad="38100" dist="38100" dir="2700000" algn="tl">
                    <a:srgbClr val="000000">
                      <a:alpha val="43137"/>
                    </a:srgbClr>
                  </a:outerShdw>
                </a:effectLst>
              </a:rPr>
              <a:t>Fazit</a:t>
            </a:r>
            <a:endParaRPr lang="de-DE" sz="2000" b="0" dirty="0">
              <a:effectLst>
                <a:outerShdw blurRad="38100" dist="38100" dir="2700000" algn="tl">
                  <a:srgbClr val="000000">
                    <a:alpha val="43137"/>
                  </a:srgbClr>
                </a:outerShdw>
              </a:effectLst>
            </a:endParaRP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rgbClr val="A9B5C7"/>
                </a:solidFill>
              </a:rPr>
              <a:t>Vorstellung</a:t>
            </a:r>
          </a:p>
          <a:p>
            <a:pPr marL="228600" indent="-228600">
              <a:buFont typeface="+mj-lt"/>
              <a:buAutoNum type="arabicPeriod"/>
            </a:pPr>
            <a:r>
              <a:rPr lang="de-DE" dirty="0">
                <a:solidFill>
                  <a:srgbClr val="A9B5C7"/>
                </a:solidFill>
              </a:rPr>
              <a:t>Thematik</a:t>
            </a:r>
            <a:endParaRPr lang="de-DE" dirty="0">
              <a:solidFill>
                <a:srgbClr val="A9B5C7"/>
              </a:solidFill>
            </a:endParaRPr>
          </a:p>
          <a:p>
            <a:pPr marL="228600" indent="-228600">
              <a:buFont typeface="+mj-lt"/>
              <a:buAutoNum type="arabicPeriod"/>
            </a:pPr>
            <a:r>
              <a:rPr lang="de-DE" dirty="0">
                <a:solidFill>
                  <a:srgbClr val="A9B5C7"/>
                </a:solidFill>
              </a:rPr>
              <a:t>Analyse</a:t>
            </a:r>
          </a:p>
          <a:p>
            <a:pPr marL="228600" indent="-228600">
              <a:buFont typeface="+mj-lt"/>
              <a:buAutoNum type="arabicPeriod"/>
            </a:pPr>
            <a:r>
              <a:rPr lang="de-DE" dirty="0">
                <a:solidFill>
                  <a:srgbClr val="A9B5C7"/>
                </a:solidFill>
              </a:rPr>
              <a:t>Entwurf</a:t>
            </a:r>
          </a:p>
          <a:p>
            <a:pPr marL="228600" indent="-228600">
              <a:buFont typeface="+mj-lt"/>
              <a:buAutoNum type="arabicPeriod"/>
            </a:pPr>
            <a:r>
              <a:rPr lang="de-DE" dirty="0">
                <a:solidFill>
                  <a:srgbClr val="A9B5C7"/>
                </a:solidFill>
              </a:rPr>
              <a:t>Implementierung</a:t>
            </a:r>
          </a:p>
          <a:p>
            <a:pPr marL="228600" indent="-228600">
              <a:buFont typeface="+mj-lt"/>
              <a:buAutoNum type="arabicPeriod"/>
            </a:pPr>
            <a:r>
              <a:rPr lang="de-DE" dirty="0" smtClean="0">
                <a:solidFill>
                  <a:schemeClr val="tx2"/>
                </a:solidFill>
              </a:rPr>
              <a:t>Fazit</a:t>
            </a:r>
          </a:p>
          <a:p>
            <a:pPr marL="228600" indent="-228600">
              <a:buFont typeface="+mj-lt"/>
              <a:buAutoNum type="arabicPeriod"/>
            </a:pPr>
            <a:r>
              <a:rPr lang="de-DE" dirty="0">
                <a:solidFill>
                  <a:srgbClr val="A9B5C7"/>
                </a:solidFill>
              </a:rPr>
              <a:t>Live Demo (evtl.)</a:t>
            </a:r>
            <a:endParaRPr lang="de-DE" dirty="0">
              <a:solidFill>
                <a:schemeClr val="tx2"/>
              </a:solidFill>
            </a:endParaRPr>
          </a:p>
          <a:p>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15</a:t>
            </a:fld>
            <a:endParaRPr lang="de-DE" noProof="0" dirty="0"/>
          </a:p>
        </p:txBody>
      </p:sp>
      <p:sp>
        <p:nvSpPr>
          <p:cNvPr id="13" name="Inhaltsplatzhalter 4"/>
          <p:cNvSpPr>
            <a:spLocks noGrp="1"/>
          </p:cNvSpPr>
          <p:nvPr>
            <p:ph idx="1"/>
          </p:nvPr>
        </p:nvSpPr>
        <p:spPr>
          <a:xfrm>
            <a:off x="179388" y="1008063"/>
            <a:ext cx="5400675" cy="3887787"/>
          </a:xfrm>
        </p:spPr>
        <p:txBody>
          <a:bodyPr/>
          <a:lstStyle/>
          <a:p>
            <a:pPr marL="171450" indent="-171450" algn="ctr">
              <a:buFont typeface="Arial" pitchFamily="34" charset="0"/>
              <a:buChar char="•"/>
            </a:pPr>
            <a:r>
              <a:rPr lang="de-DE" dirty="0" smtClean="0">
                <a:solidFill>
                  <a:schemeClr val="tx2"/>
                </a:solidFill>
              </a:rPr>
              <a:t>Wie wird es weitergehen?</a:t>
            </a:r>
          </a:p>
          <a:p>
            <a:pPr marL="171450" indent="-171450" algn="ctr">
              <a:buFont typeface="Arial" pitchFamily="34" charset="0"/>
              <a:buChar char="•"/>
            </a:pPr>
            <a:endParaRPr lang="de-DE" dirty="0" smtClean="0">
              <a:solidFill>
                <a:schemeClr val="tx2"/>
              </a:solidFill>
            </a:endParaRPr>
          </a:p>
          <a:p>
            <a:pPr marL="171450" indent="-171450" algn="ctr">
              <a:buFont typeface="Arial" pitchFamily="34" charset="0"/>
              <a:buChar char="•"/>
            </a:pPr>
            <a:r>
              <a:rPr lang="de-DE" dirty="0" smtClean="0">
                <a:solidFill>
                  <a:schemeClr val="tx2"/>
                </a:solidFill>
              </a:rPr>
              <a:t>Aufruf anhand der internen Mitarbeiter ID des NT Users</a:t>
            </a:r>
          </a:p>
          <a:p>
            <a:pPr marL="171450" indent="-171450" algn="ctr">
              <a:buFont typeface="Arial" pitchFamily="34" charset="0"/>
              <a:buChar char="•"/>
            </a:pPr>
            <a:endParaRPr lang="de-DE" dirty="0" smtClean="0">
              <a:solidFill>
                <a:schemeClr val="tx2"/>
              </a:solidFill>
            </a:endParaRPr>
          </a:p>
          <a:p>
            <a:pPr marL="171450" indent="-171450" algn="ctr">
              <a:buFont typeface="Arial" pitchFamily="34" charset="0"/>
              <a:buChar char="•"/>
            </a:pPr>
            <a:r>
              <a:rPr lang="de-DE" dirty="0">
                <a:solidFill>
                  <a:schemeClr val="tx2"/>
                </a:solidFill>
              </a:rPr>
              <a:t>Produktive Integration </a:t>
            </a:r>
            <a:endParaRPr lang="de-DE" dirty="0" smtClean="0">
              <a:solidFill>
                <a:schemeClr val="tx2"/>
              </a:solidFill>
            </a:endParaRPr>
          </a:p>
          <a:p>
            <a:pPr marL="171450" indent="-171450" algn="ctr">
              <a:buFont typeface="Arial" pitchFamily="34" charset="0"/>
              <a:buChar char="•"/>
            </a:pPr>
            <a:endParaRPr lang="de-DE" dirty="0">
              <a:solidFill>
                <a:schemeClr val="tx2"/>
              </a:solidFill>
            </a:endParaRPr>
          </a:p>
          <a:p>
            <a:pPr marL="171450" indent="-171450" algn="ctr">
              <a:buFont typeface="Arial" pitchFamily="34" charset="0"/>
              <a:buChar char="•"/>
            </a:pPr>
            <a:r>
              <a:rPr lang="de-DE" dirty="0" smtClean="0">
                <a:solidFill>
                  <a:schemeClr val="tx2"/>
                </a:solidFill>
              </a:rPr>
              <a:t>Nutzeranalyse</a:t>
            </a:r>
            <a:endParaRPr lang="de-DE" dirty="0">
              <a:solidFill>
                <a:schemeClr val="tx2"/>
              </a:solidFill>
            </a:endParaRPr>
          </a:p>
          <a:p>
            <a:pPr marL="171450" indent="-171450" algn="ctr">
              <a:buFont typeface="Arial" pitchFamily="34" charset="0"/>
              <a:buChar char="•"/>
            </a:pPr>
            <a:endParaRPr lang="de-DE" dirty="0" smtClean="0">
              <a:solidFill>
                <a:schemeClr val="tx2"/>
              </a:solidFill>
            </a:endParaRPr>
          </a:p>
          <a:p>
            <a:pPr marL="171450" indent="-171450" algn="ctr">
              <a:buFont typeface="Arial" pitchFamily="34" charset="0"/>
              <a:buChar char="•"/>
            </a:pPr>
            <a:endParaRPr lang="de-DE" dirty="0" smtClean="0">
              <a:solidFill>
                <a:schemeClr val="tx2"/>
              </a:solidFill>
            </a:endParaRPr>
          </a:p>
        </p:txBody>
      </p:sp>
      <p:sp>
        <p:nvSpPr>
          <p:cNvPr id="10" name="Textfeld 9"/>
          <p:cNvSpPr txBox="1"/>
          <p:nvPr/>
        </p:nvSpPr>
        <p:spPr>
          <a:xfrm>
            <a:off x="4716735" y="936427"/>
            <a:ext cx="914400" cy="914400"/>
          </a:xfrm>
          <a:prstGeom prst="rect">
            <a:avLst/>
          </a:prstGeom>
          <a:noFill/>
        </p:spPr>
        <p:txBody>
          <a:bodyPr wrap="none" lIns="0" tIns="0" rIns="0" bIns="0" rtlCol="0">
            <a:noAutofit/>
          </a:bodyPr>
          <a:lstStyle/>
          <a:p>
            <a:endParaRPr lang="de-DE" dirty="0" err="1" smtClean="0"/>
          </a:p>
        </p:txBody>
      </p:sp>
      <p:pic>
        <p:nvPicPr>
          <p:cNvPr id="23555" name="Picture 3" descr="U:\Projektarbeit\Präsentation\img\Fazit.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33747" y="2088554"/>
            <a:ext cx="3333750" cy="2886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2433914"/>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6" end="6"/>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60" y="-22916"/>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752653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smtClean="0">
                <a:effectLst>
                  <a:outerShdw blurRad="38100" dist="38100" dir="2700000" algn="tl">
                    <a:srgbClr val="000000">
                      <a:alpha val="43137"/>
                    </a:srgbClr>
                  </a:outerShdw>
                </a:effectLst>
              </a:rPr>
              <a:t>Live Demo (Evtl.)</a:t>
            </a:r>
            <a:endParaRPr lang="de-DE" sz="2000" b="0" dirty="0">
              <a:effectLst>
                <a:outerShdw blurRad="38100" dist="38100" dir="2700000" algn="tl">
                  <a:srgbClr val="000000">
                    <a:alpha val="43137"/>
                  </a:srgbClr>
                </a:outerShdw>
              </a:effectLst>
            </a:endParaRP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rgbClr val="A9B5C7"/>
                </a:solidFill>
              </a:rPr>
              <a:t>Vorstellung</a:t>
            </a:r>
          </a:p>
          <a:p>
            <a:pPr marL="228600" indent="-228600">
              <a:buFont typeface="+mj-lt"/>
              <a:buAutoNum type="arabicPeriod"/>
            </a:pPr>
            <a:r>
              <a:rPr lang="de-DE" dirty="0">
                <a:solidFill>
                  <a:srgbClr val="A9B5C7"/>
                </a:solidFill>
              </a:rPr>
              <a:t>Thematik</a:t>
            </a:r>
            <a:endParaRPr lang="de-DE" dirty="0">
              <a:solidFill>
                <a:srgbClr val="A9B5C7"/>
              </a:solidFill>
            </a:endParaRPr>
          </a:p>
          <a:p>
            <a:pPr marL="228600" indent="-228600">
              <a:buFont typeface="+mj-lt"/>
              <a:buAutoNum type="arabicPeriod"/>
            </a:pPr>
            <a:r>
              <a:rPr lang="de-DE" dirty="0">
                <a:solidFill>
                  <a:srgbClr val="A9B5C7"/>
                </a:solidFill>
              </a:rPr>
              <a:t>Analyse</a:t>
            </a:r>
          </a:p>
          <a:p>
            <a:pPr marL="228600" indent="-228600">
              <a:buFont typeface="+mj-lt"/>
              <a:buAutoNum type="arabicPeriod"/>
            </a:pPr>
            <a:r>
              <a:rPr lang="de-DE" dirty="0">
                <a:solidFill>
                  <a:srgbClr val="A9B5C7"/>
                </a:solidFill>
              </a:rPr>
              <a:t>Entwurf</a:t>
            </a:r>
          </a:p>
          <a:p>
            <a:pPr marL="228600" indent="-228600">
              <a:buFont typeface="+mj-lt"/>
              <a:buAutoNum type="arabicPeriod"/>
            </a:pPr>
            <a:r>
              <a:rPr lang="de-DE" dirty="0">
                <a:solidFill>
                  <a:srgbClr val="A9B5C7"/>
                </a:solidFill>
              </a:rPr>
              <a:t>Implementierung</a:t>
            </a:r>
          </a:p>
          <a:p>
            <a:pPr marL="228600" indent="-228600">
              <a:buFont typeface="+mj-lt"/>
              <a:buAutoNum type="arabicPeriod"/>
            </a:pPr>
            <a:r>
              <a:rPr lang="de-DE" dirty="0">
                <a:solidFill>
                  <a:srgbClr val="A9B5C7"/>
                </a:solidFill>
              </a:rPr>
              <a:t>Fazit</a:t>
            </a:r>
          </a:p>
          <a:p>
            <a:pPr marL="228600" indent="-228600">
              <a:buFont typeface="+mj-lt"/>
              <a:buAutoNum type="arabicPeriod"/>
            </a:pPr>
            <a:r>
              <a:rPr lang="de-DE" dirty="0" smtClean="0">
                <a:solidFill>
                  <a:schemeClr val="tx2"/>
                </a:solidFill>
              </a:rPr>
              <a:t>Live Demo (Evtl.)</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16</a:t>
            </a:fld>
            <a:endParaRPr lang="de-DE" noProof="0" dirty="0"/>
          </a:p>
        </p:txBody>
      </p:sp>
      <p:sp>
        <p:nvSpPr>
          <p:cNvPr id="10" name="Textfeld 9"/>
          <p:cNvSpPr txBox="1"/>
          <p:nvPr/>
        </p:nvSpPr>
        <p:spPr>
          <a:xfrm>
            <a:off x="4716735" y="936427"/>
            <a:ext cx="914400" cy="914400"/>
          </a:xfrm>
          <a:prstGeom prst="rect">
            <a:avLst/>
          </a:prstGeom>
          <a:noFill/>
        </p:spPr>
        <p:txBody>
          <a:bodyPr wrap="none" lIns="0" tIns="0" rIns="0" bIns="0" rtlCol="0">
            <a:noAutofit/>
          </a:bodyPr>
          <a:lstStyle/>
          <a:p>
            <a:endParaRPr lang="de-DE" dirty="0" err="1" smtClean="0"/>
          </a:p>
        </p:txBody>
      </p:sp>
      <p:pic>
        <p:nvPicPr>
          <p:cNvPr id="7" name="Inhaltsplatzhalter 6"/>
          <p:cNvPicPr>
            <a:picLocks noGrp="1" noChangeAspect="1"/>
          </p:cNvPicPr>
          <p:nvPr>
            <p:ph idx="1"/>
          </p:nvPr>
        </p:nvPicPr>
        <p:blipFill>
          <a:blip r:embed="rId7">
            <a:extLst>
              <a:ext uri="{28A0092B-C50C-407E-A947-70E740481C1C}">
                <a14:useLocalDpi xmlns:a14="http://schemas.microsoft.com/office/drawing/2010/main" val="0"/>
              </a:ext>
            </a:extLst>
          </a:blip>
          <a:stretch>
            <a:fillRect/>
          </a:stretch>
        </p:blipFill>
        <p:spPr>
          <a:xfrm>
            <a:off x="230460" y="1114993"/>
            <a:ext cx="5400675" cy="3076333"/>
          </a:xfrm>
        </p:spPr>
      </p:pic>
    </p:spTree>
    <p:extLst>
      <p:ext uri="{BB962C8B-B14F-4D97-AF65-F5344CB8AC3E}">
        <p14:creationId xmlns:p14="http://schemas.microsoft.com/office/powerpoint/2010/main" val="477282319"/>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7" end="7"/>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43246"/>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8477584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400" b="0" dirty="0" smtClean="0">
                <a:effectLst>
                  <a:outerShdw blurRad="38100" dist="38100" dir="2700000" algn="tl">
                    <a:srgbClr val="000000">
                      <a:alpha val="43137"/>
                    </a:srgbClr>
                  </a:outerShdw>
                </a:effectLst>
              </a:rPr>
              <a:t>Das Unternehmen</a:t>
            </a:r>
            <a:endParaRPr lang="de-DE" sz="2400" b="0" dirty="0">
              <a:effectLst>
                <a:outerShdw blurRad="38100" dist="38100" dir="2700000" algn="tl">
                  <a:srgbClr val="000000">
                    <a:alpha val="43137"/>
                  </a:srgbClr>
                </a:outerShdw>
              </a:effectLst>
            </a:endParaRPr>
          </a:p>
        </p:txBody>
      </p:sp>
      <p:sp>
        <p:nvSpPr>
          <p:cNvPr id="5" name="Inhaltsplatzhalter 4"/>
          <p:cNvSpPr>
            <a:spLocks noGrp="1"/>
          </p:cNvSpPr>
          <p:nvPr>
            <p:ph idx="1"/>
          </p:nvPr>
        </p:nvSpPr>
        <p:spPr/>
        <p:txBody>
          <a:bodyPr/>
          <a:lstStyle/>
          <a:p>
            <a:endParaRPr lang="de-DE" dirty="0"/>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smtClean="0">
                <a:solidFill>
                  <a:schemeClr val="tx2"/>
                </a:solidFill>
              </a:rPr>
              <a:t>Vorstellung</a:t>
            </a:r>
          </a:p>
          <a:p>
            <a:pPr marL="228600" indent="-228600">
              <a:buFont typeface="+mj-lt"/>
              <a:buAutoNum type="arabicPeriod"/>
            </a:pPr>
            <a:r>
              <a:rPr lang="de-DE" dirty="0" smtClean="0">
                <a:solidFill>
                  <a:srgbClr val="A9B5C7"/>
                </a:solidFill>
              </a:rPr>
              <a:t>Thematik</a:t>
            </a:r>
          </a:p>
          <a:p>
            <a:pPr marL="228600" indent="-228600">
              <a:buFont typeface="+mj-lt"/>
              <a:buAutoNum type="arabicPeriod"/>
            </a:pPr>
            <a:r>
              <a:rPr lang="de-DE" dirty="0" smtClean="0">
                <a:solidFill>
                  <a:srgbClr val="A9B5C7"/>
                </a:solidFill>
              </a:rPr>
              <a:t>Analyse</a:t>
            </a:r>
          </a:p>
          <a:p>
            <a:pPr marL="228600" indent="-228600">
              <a:buFont typeface="+mj-lt"/>
              <a:buAutoNum type="arabicPeriod"/>
            </a:pPr>
            <a:r>
              <a:rPr lang="de-DE" dirty="0" smtClean="0">
                <a:solidFill>
                  <a:srgbClr val="A9B5C7"/>
                </a:solidFill>
              </a:rPr>
              <a:t>Entwurf</a:t>
            </a:r>
          </a:p>
          <a:p>
            <a:pPr marL="228600" indent="-228600">
              <a:buFont typeface="+mj-lt"/>
              <a:buAutoNum type="arabicPeriod"/>
            </a:pPr>
            <a:r>
              <a:rPr lang="de-DE" dirty="0" smtClean="0">
                <a:solidFill>
                  <a:srgbClr val="A9B5C7"/>
                </a:solidFill>
              </a:rPr>
              <a:t>Implementierung</a:t>
            </a:r>
          </a:p>
          <a:p>
            <a:pPr marL="228600" indent="-228600">
              <a:buFont typeface="+mj-lt"/>
              <a:buAutoNum type="arabicPeriod"/>
            </a:pPr>
            <a:r>
              <a:rPr lang="de-DE" dirty="0" smtClean="0">
                <a:solidFill>
                  <a:srgbClr val="A9B5C7"/>
                </a:solidFill>
              </a:rPr>
              <a:t>Fazit</a:t>
            </a:r>
          </a:p>
          <a:p>
            <a:pPr marL="228600" indent="-228600">
              <a:buFont typeface="+mj-lt"/>
              <a:buAutoNum type="arabicPeriod"/>
            </a:pPr>
            <a:r>
              <a:rPr lang="de-DE" dirty="0">
                <a:solidFill>
                  <a:srgbClr val="A9B5C7"/>
                </a:solidFill>
              </a:rPr>
              <a:t>Live Demo (evtl</a:t>
            </a:r>
            <a:r>
              <a:rPr lang="de-DE" dirty="0" smtClean="0">
                <a:solidFill>
                  <a:srgbClr val="A9B5C7"/>
                </a:solidFill>
              </a:rPr>
              <a:t>.)</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2</a:t>
            </a:fld>
            <a:endParaRPr lang="de-DE" noProof="0" dirty="0"/>
          </a:p>
        </p:txBody>
      </p:sp>
      <p:pic>
        <p:nvPicPr>
          <p:cNvPr id="8203" name="Picture 11" descr="U:\Projektarbeit\Präsentation\img\vorstellung_BankGebaeude.jpe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0231" y="1008435"/>
            <a:ext cx="5400599" cy="3888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2682032"/>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1" end="1"/>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915"/>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050165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smtClean="0">
                <a:effectLst>
                  <a:outerShdw blurRad="38100" dist="38100" dir="2700000" algn="tl">
                    <a:srgbClr val="000000">
                      <a:alpha val="43137"/>
                    </a:srgbClr>
                  </a:outerShdw>
                </a:effectLst>
              </a:rPr>
              <a:t>Bego IT – der interne IT Dienstleister</a:t>
            </a:r>
            <a:endParaRPr lang="de-DE" sz="2000" b="0" dirty="0">
              <a:effectLst>
                <a:outerShdw blurRad="38100" dist="38100" dir="2700000" algn="tl">
                  <a:srgbClr val="000000">
                    <a:alpha val="43137"/>
                  </a:srgbClr>
                </a:outerShdw>
              </a:effectLst>
            </a:endParaRPr>
          </a:p>
        </p:txBody>
      </p:sp>
      <p:sp>
        <p:nvSpPr>
          <p:cNvPr id="5" name="Inhaltsplatzhalter 4"/>
          <p:cNvSpPr>
            <a:spLocks noGrp="1"/>
          </p:cNvSpPr>
          <p:nvPr>
            <p:ph idx="1"/>
          </p:nvPr>
        </p:nvSpPr>
        <p:spPr/>
        <p:txBody>
          <a:bodyPr/>
          <a:lstStyle/>
          <a:p>
            <a:pPr marL="171450" indent="-171450" algn="ctr">
              <a:buFont typeface="Arial" pitchFamily="34" charset="0"/>
              <a:buChar char="•"/>
            </a:pPr>
            <a:r>
              <a:rPr lang="de-DE" dirty="0" smtClean="0">
                <a:solidFill>
                  <a:schemeClr val="tx2"/>
                </a:solidFill>
              </a:rPr>
              <a:t>Interner IT Dienstleister seit mehr als 15 Jahren</a:t>
            </a:r>
          </a:p>
          <a:p>
            <a:pPr marL="171450" indent="-171450" algn="ctr">
              <a:buFont typeface="Arial" pitchFamily="34" charset="0"/>
              <a:buChar char="•"/>
            </a:pPr>
            <a:endParaRPr lang="de-DE" dirty="0" smtClean="0">
              <a:solidFill>
                <a:schemeClr val="tx2"/>
              </a:solidFill>
            </a:endParaRPr>
          </a:p>
          <a:p>
            <a:pPr marL="171450" indent="-171450" algn="ctr">
              <a:buFont typeface="Arial" pitchFamily="34" charset="0"/>
              <a:buChar char="•"/>
            </a:pPr>
            <a:r>
              <a:rPr lang="de-DE" dirty="0" smtClean="0">
                <a:solidFill>
                  <a:schemeClr val="tx2"/>
                </a:solidFill>
              </a:rPr>
              <a:t>Der überwiegende Teil  der Applikationen ist selbst entwickelt</a:t>
            </a:r>
          </a:p>
          <a:p>
            <a:pPr marL="171450" indent="-171450" algn="ctr">
              <a:buFont typeface="Arial" pitchFamily="34" charset="0"/>
              <a:buChar char="•"/>
            </a:pPr>
            <a:endParaRPr lang="de-DE" dirty="0" smtClean="0">
              <a:solidFill>
                <a:schemeClr val="tx2"/>
              </a:solidFill>
            </a:endParaRPr>
          </a:p>
          <a:p>
            <a:pPr marL="171450" indent="-171450" algn="ctr">
              <a:buFont typeface="Arial" pitchFamily="34" charset="0"/>
              <a:buChar char="•"/>
            </a:pPr>
            <a:r>
              <a:rPr lang="de-DE" dirty="0" smtClean="0">
                <a:solidFill>
                  <a:schemeClr val="tx2"/>
                </a:solidFill>
              </a:rPr>
              <a:t>Über 200 Mitarbeiter im Bereich IT</a:t>
            </a:r>
            <a:endParaRPr lang="de-DE" dirty="0">
              <a:solidFill>
                <a:schemeClr val="tx2"/>
              </a:solidFill>
            </a:endParaRP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chemeClr val="tx2"/>
                </a:solidFill>
              </a:rPr>
              <a:t>Vorstellung</a:t>
            </a:r>
          </a:p>
          <a:p>
            <a:pPr marL="228600" indent="-228600">
              <a:buFont typeface="+mj-lt"/>
              <a:buAutoNum type="arabicPeriod"/>
            </a:pPr>
            <a:r>
              <a:rPr lang="de-DE" dirty="0">
                <a:solidFill>
                  <a:srgbClr val="A9B5C7"/>
                </a:solidFill>
              </a:rPr>
              <a:t>Thematik</a:t>
            </a:r>
          </a:p>
          <a:p>
            <a:pPr marL="228600" indent="-228600">
              <a:buFont typeface="+mj-lt"/>
              <a:buAutoNum type="arabicPeriod"/>
            </a:pPr>
            <a:r>
              <a:rPr lang="de-DE" dirty="0" smtClean="0">
                <a:solidFill>
                  <a:srgbClr val="A9B5C7"/>
                </a:solidFill>
              </a:rPr>
              <a:t>Analyse</a:t>
            </a:r>
          </a:p>
          <a:p>
            <a:pPr marL="228600" indent="-228600">
              <a:buFont typeface="+mj-lt"/>
              <a:buAutoNum type="arabicPeriod"/>
            </a:pPr>
            <a:r>
              <a:rPr lang="de-DE" dirty="0" smtClean="0">
                <a:solidFill>
                  <a:srgbClr val="A9B5C7"/>
                </a:solidFill>
              </a:rPr>
              <a:t>Entwurf</a:t>
            </a:r>
          </a:p>
          <a:p>
            <a:pPr marL="228600" indent="-228600">
              <a:buFont typeface="+mj-lt"/>
              <a:buAutoNum type="arabicPeriod"/>
            </a:pPr>
            <a:r>
              <a:rPr lang="de-DE" dirty="0" smtClean="0">
                <a:solidFill>
                  <a:srgbClr val="A9B5C7"/>
                </a:solidFill>
              </a:rPr>
              <a:t>Implementierung</a:t>
            </a:r>
          </a:p>
          <a:p>
            <a:pPr marL="228600" indent="-228600">
              <a:buFont typeface="+mj-lt"/>
              <a:buAutoNum type="arabicPeriod"/>
            </a:pPr>
            <a:r>
              <a:rPr lang="de-DE" dirty="0" smtClean="0">
                <a:solidFill>
                  <a:srgbClr val="A9B5C7"/>
                </a:solidFill>
              </a:rPr>
              <a:t>Fazit</a:t>
            </a:r>
          </a:p>
          <a:p>
            <a:pPr marL="228600" indent="-228600">
              <a:buFont typeface="+mj-lt"/>
              <a:buAutoNum type="arabicPeriod"/>
            </a:pPr>
            <a:r>
              <a:rPr lang="de-DE" dirty="0">
                <a:solidFill>
                  <a:srgbClr val="A9B5C7"/>
                </a:solidFill>
              </a:rPr>
              <a:t>Live Demo (evtl</a:t>
            </a:r>
            <a:r>
              <a:rPr lang="de-DE" dirty="0" smtClean="0">
                <a:solidFill>
                  <a:srgbClr val="A9B5C7"/>
                </a:solidFill>
              </a:rPr>
              <a:t>.)</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3</a:t>
            </a:fld>
            <a:endParaRPr lang="de-DE" noProof="0" dirty="0"/>
          </a:p>
        </p:txBody>
      </p:sp>
      <p:pic>
        <p:nvPicPr>
          <p:cNvPr id="9220" name="Picture 4" descr="U:\Projektarbeit\Präsentation\img\vorstellung_Laptop.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8303" y="2232158"/>
            <a:ext cx="4402306" cy="2691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5156899"/>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1" end="1"/>
                                            </p:txEl>
                                          </p:spTgt>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 calcmode="lin" valueType="num">
                                      <p:cBhvr>
                                        <p:cTn id="11" dur="500" fill="hold"/>
                                        <p:tgtEl>
                                          <p:spTgt spid="5">
                                            <p:txEl>
                                              <p:pRg st="0" end="0"/>
                                            </p:txEl>
                                          </p:spTgt>
                                        </p:tgtEl>
                                        <p:attrNameLst>
                                          <p:attrName>ppt_w</p:attrName>
                                        </p:attrNameLst>
                                      </p:cBhvr>
                                      <p:tavLst>
                                        <p:tav tm="0">
                                          <p:val>
                                            <p:fltVal val="0"/>
                                          </p:val>
                                        </p:tav>
                                        <p:tav tm="100000">
                                          <p:val>
                                            <p:strVal val="#ppt_w"/>
                                          </p:val>
                                        </p:tav>
                                      </p:tavLst>
                                    </p:anim>
                                    <p:anim calcmode="lin" valueType="num">
                                      <p:cBhvr>
                                        <p:cTn id="12" dur="500" fill="hold"/>
                                        <p:tgtEl>
                                          <p:spTgt spid="5">
                                            <p:txEl>
                                              <p:pRg st="0" end="0"/>
                                            </p:txEl>
                                          </p:spTgt>
                                        </p:tgtEl>
                                        <p:attrNameLst>
                                          <p:attrName>ppt_h</p:attrName>
                                        </p:attrNameLst>
                                      </p:cBhvr>
                                      <p:tavLst>
                                        <p:tav tm="0">
                                          <p:val>
                                            <p:fltVal val="0"/>
                                          </p:val>
                                        </p:tav>
                                        <p:tav tm="100000">
                                          <p:val>
                                            <p:strVal val="#ppt_h"/>
                                          </p:val>
                                        </p:tav>
                                      </p:tavLst>
                                    </p:anim>
                                    <p:animEffect transition="in" filter="fade">
                                      <p:cBhvr>
                                        <p:cTn id="13" dur="500"/>
                                        <p:tgtEl>
                                          <p:spTgt spid="5">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 calcmode="lin" valueType="num">
                                      <p:cBhvr>
                                        <p:cTn id="18" dur="500" fill="hold"/>
                                        <p:tgtEl>
                                          <p:spTgt spid="5">
                                            <p:txEl>
                                              <p:pRg st="2" end="2"/>
                                            </p:txEl>
                                          </p:spTgt>
                                        </p:tgtEl>
                                        <p:attrNameLst>
                                          <p:attrName>ppt_w</p:attrName>
                                        </p:attrNameLst>
                                      </p:cBhvr>
                                      <p:tavLst>
                                        <p:tav tm="0">
                                          <p:val>
                                            <p:fltVal val="0"/>
                                          </p:val>
                                        </p:tav>
                                        <p:tav tm="100000">
                                          <p:val>
                                            <p:strVal val="#ppt_w"/>
                                          </p:val>
                                        </p:tav>
                                      </p:tavLst>
                                    </p:anim>
                                    <p:anim calcmode="lin" valueType="num">
                                      <p:cBhvr>
                                        <p:cTn id="19" dur="500" fill="hold"/>
                                        <p:tgtEl>
                                          <p:spTgt spid="5">
                                            <p:txEl>
                                              <p:pRg st="2" end="2"/>
                                            </p:txEl>
                                          </p:spTgt>
                                        </p:tgtEl>
                                        <p:attrNameLst>
                                          <p:attrName>ppt_h</p:attrName>
                                        </p:attrNameLst>
                                      </p:cBhvr>
                                      <p:tavLst>
                                        <p:tav tm="0">
                                          <p:val>
                                            <p:fltVal val="0"/>
                                          </p:val>
                                        </p:tav>
                                        <p:tav tm="100000">
                                          <p:val>
                                            <p:strVal val="#ppt_h"/>
                                          </p:val>
                                        </p:tav>
                                      </p:tavLst>
                                    </p:anim>
                                    <p:animEffect transition="in" filter="fade">
                                      <p:cBhvr>
                                        <p:cTn id="20" dur="500"/>
                                        <p:tgtEl>
                                          <p:spTgt spid="5">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nodeType="clickEffect">
                                  <p:stCondLst>
                                    <p:cond delay="0"/>
                                  </p:stCondLst>
                                  <p:childTnLst>
                                    <p:set>
                                      <p:cBhvr>
                                        <p:cTn id="24" dur="1" fill="hold">
                                          <p:stCondLst>
                                            <p:cond delay="0"/>
                                          </p:stCondLst>
                                        </p:cTn>
                                        <p:tgtEl>
                                          <p:spTgt spid="5">
                                            <p:txEl>
                                              <p:pRg st="4" end="4"/>
                                            </p:txEl>
                                          </p:spTgt>
                                        </p:tgtEl>
                                        <p:attrNameLst>
                                          <p:attrName>style.visibility</p:attrName>
                                        </p:attrNameLst>
                                      </p:cBhvr>
                                      <p:to>
                                        <p:strVal val="visible"/>
                                      </p:to>
                                    </p:set>
                                    <p:anim calcmode="lin" valueType="num">
                                      <p:cBhvr>
                                        <p:cTn id="25" dur="500" fill="hold"/>
                                        <p:tgtEl>
                                          <p:spTgt spid="5">
                                            <p:txEl>
                                              <p:pRg st="4" end="4"/>
                                            </p:txEl>
                                          </p:spTgt>
                                        </p:tgtEl>
                                        <p:attrNameLst>
                                          <p:attrName>ppt_w</p:attrName>
                                        </p:attrNameLst>
                                      </p:cBhvr>
                                      <p:tavLst>
                                        <p:tav tm="0">
                                          <p:val>
                                            <p:fltVal val="0"/>
                                          </p:val>
                                        </p:tav>
                                        <p:tav tm="100000">
                                          <p:val>
                                            <p:strVal val="#ppt_w"/>
                                          </p:val>
                                        </p:tav>
                                      </p:tavLst>
                                    </p:anim>
                                    <p:anim calcmode="lin" valueType="num">
                                      <p:cBhvr>
                                        <p:cTn id="26" dur="500" fill="hold"/>
                                        <p:tgtEl>
                                          <p:spTgt spid="5">
                                            <p:txEl>
                                              <p:pRg st="4" end="4"/>
                                            </p:txEl>
                                          </p:spTgt>
                                        </p:tgtEl>
                                        <p:attrNameLst>
                                          <p:attrName>ppt_h</p:attrName>
                                        </p:attrNameLst>
                                      </p:cBhvr>
                                      <p:tavLst>
                                        <p:tav tm="0">
                                          <p:val>
                                            <p:fltVal val="0"/>
                                          </p:val>
                                        </p:tav>
                                        <p:tav tm="100000">
                                          <p:val>
                                            <p:strVal val="#ppt_h"/>
                                          </p:val>
                                        </p:tav>
                                      </p:tavLst>
                                    </p:anim>
                                    <p:animEffect transition="in" filter="fade">
                                      <p:cBhvr>
                                        <p:cTn id="27"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915"/>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022889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smtClean="0">
                <a:effectLst>
                  <a:outerShdw blurRad="38100" dist="38100" dir="2700000" algn="tl">
                    <a:srgbClr val="000000">
                      <a:alpha val="43137"/>
                    </a:srgbClr>
                  </a:outerShdw>
                </a:effectLst>
              </a:rPr>
              <a:t>Projektbeschreibung</a:t>
            </a:r>
            <a:endParaRPr lang="de-DE" sz="2000" b="0" dirty="0">
              <a:effectLst>
                <a:outerShdw blurRad="38100" dist="38100" dir="2700000" algn="tl">
                  <a:srgbClr val="000000">
                    <a:alpha val="43137"/>
                  </a:srgbClr>
                </a:outerShdw>
              </a:effectLst>
            </a:endParaRPr>
          </a:p>
        </p:txBody>
      </p:sp>
      <p:sp>
        <p:nvSpPr>
          <p:cNvPr id="5" name="Inhaltsplatzhalter 4"/>
          <p:cNvSpPr>
            <a:spLocks noGrp="1"/>
          </p:cNvSpPr>
          <p:nvPr>
            <p:ph idx="1"/>
          </p:nvPr>
        </p:nvSpPr>
        <p:spPr/>
        <p:txBody>
          <a:bodyPr/>
          <a:lstStyle/>
          <a:p>
            <a:pPr marL="171450" indent="-171450" algn="ctr">
              <a:buFont typeface="Arial" pitchFamily="34" charset="0"/>
              <a:buChar char="•"/>
            </a:pPr>
            <a:r>
              <a:rPr lang="de-DE" dirty="0" smtClean="0">
                <a:solidFill>
                  <a:schemeClr val="tx2"/>
                </a:solidFill>
              </a:rPr>
              <a:t>Echtzeit Kommunikation „vor Ort“</a:t>
            </a:r>
            <a:endParaRPr lang="de-DE" dirty="0" smtClean="0">
              <a:solidFill>
                <a:schemeClr val="tx2"/>
              </a:solidFill>
            </a:endParaRPr>
          </a:p>
          <a:p>
            <a:pPr marL="171450" indent="-171450" algn="ctr">
              <a:buFont typeface="Arial" pitchFamily="34" charset="0"/>
              <a:buChar char="•"/>
            </a:pPr>
            <a:endParaRPr lang="de-DE" dirty="0" smtClean="0">
              <a:solidFill>
                <a:schemeClr val="tx2"/>
              </a:solidFill>
            </a:endParaRPr>
          </a:p>
          <a:p>
            <a:pPr marL="171450" indent="-171450" algn="ctr">
              <a:buFont typeface="Arial" pitchFamily="34" charset="0"/>
              <a:buChar char="•"/>
            </a:pPr>
            <a:r>
              <a:rPr lang="de-DE" dirty="0">
                <a:solidFill>
                  <a:schemeClr val="tx2"/>
                </a:solidFill>
              </a:rPr>
              <a:t>Integriert in die Intranet </a:t>
            </a:r>
            <a:r>
              <a:rPr lang="de-DE" dirty="0" smtClean="0">
                <a:solidFill>
                  <a:schemeClr val="tx2"/>
                </a:solidFill>
              </a:rPr>
              <a:t>Seite</a:t>
            </a:r>
          </a:p>
          <a:p>
            <a:pPr marL="171450" indent="-171450" algn="ctr">
              <a:buFont typeface="Arial" pitchFamily="34" charset="0"/>
              <a:buChar char="•"/>
            </a:pPr>
            <a:endParaRPr lang="de-DE" dirty="0" smtClean="0">
              <a:solidFill>
                <a:schemeClr val="tx2"/>
              </a:solidFill>
            </a:endParaRPr>
          </a:p>
          <a:p>
            <a:pPr marL="171450" indent="-171450" algn="ctr">
              <a:buFont typeface="Arial" pitchFamily="34" charset="0"/>
              <a:buChar char="•"/>
            </a:pPr>
            <a:r>
              <a:rPr lang="de-DE" dirty="0" smtClean="0">
                <a:solidFill>
                  <a:schemeClr val="tx2"/>
                </a:solidFill>
              </a:rPr>
              <a:t>Einfache Wartbarkeit durch </a:t>
            </a:r>
            <a:r>
              <a:rPr lang="de-DE" dirty="0" smtClean="0">
                <a:solidFill>
                  <a:schemeClr val="tx2"/>
                </a:solidFill>
              </a:rPr>
              <a:t>Modalität</a:t>
            </a:r>
            <a:endParaRPr lang="de-DE" dirty="0">
              <a:solidFill>
                <a:schemeClr val="tx2"/>
              </a:solidFill>
            </a:endParaRP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rgbClr val="A9B5C7"/>
                </a:solidFill>
              </a:rPr>
              <a:t>Vorstellung</a:t>
            </a:r>
          </a:p>
          <a:p>
            <a:pPr marL="228600" indent="-228600">
              <a:buFont typeface="+mj-lt"/>
              <a:buAutoNum type="arabicPeriod"/>
            </a:pPr>
            <a:r>
              <a:rPr lang="de-DE" dirty="0" smtClean="0">
                <a:solidFill>
                  <a:schemeClr val="tx2"/>
                </a:solidFill>
              </a:rPr>
              <a:t>Thematik</a:t>
            </a:r>
            <a:endParaRPr lang="de-DE" dirty="0">
              <a:solidFill>
                <a:schemeClr val="tx2"/>
              </a:solidFill>
            </a:endParaRPr>
          </a:p>
          <a:p>
            <a:pPr marL="228600" indent="-228600">
              <a:buFont typeface="+mj-lt"/>
              <a:buAutoNum type="arabicPeriod"/>
            </a:pPr>
            <a:r>
              <a:rPr lang="de-DE" dirty="0" smtClean="0">
                <a:solidFill>
                  <a:srgbClr val="A9B5C7"/>
                </a:solidFill>
              </a:rPr>
              <a:t>Analyse</a:t>
            </a:r>
            <a:endParaRPr lang="de-DE" dirty="0" smtClean="0">
              <a:solidFill>
                <a:srgbClr val="A9B5C7"/>
              </a:solidFill>
            </a:endParaRPr>
          </a:p>
          <a:p>
            <a:pPr marL="228600" indent="-228600">
              <a:buFont typeface="+mj-lt"/>
              <a:buAutoNum type="arabicPeriod"/>
            </a:pPr>
            <a:r>
              <a:rPr lang="de-DE" dirty="0" smtClean="0">
                <a:solidFill>
                  <a:srgbClr val="A9B5C7"/>
                </a:solidFill>
              </a:rPr>
              <a:t>Entwurf</a:t>
            </a:r>
          </a:p>
          <a:p>
            <a:pPr marL="228600" indent="-228600">
              <a:buFont typeface="+mj-lt"/>
              <a:buAutoNum type="arabicPeriod"/>
            </a:pPr>
            <a:r>
              <a:rPr lang="de-DE" dirty="0" smtClean="0">
                <a:solidFill>
                  <a:srgbClr val="A9B5C7"/>
                </a:solidFill>
              </a:rPr>
              <a:t>Implementierung</a:t>
            </a:r>
          </a:p>
          <a:p>
            <a:pPr marL="228600" indent="-228600">
              <a:buFont typeface="+mj-lt"/>
              <a:buAutoNum type="arabicPeriod"/>
            </a:pPr>
            <a:r>
              <a:rPr lang="de-DE" dirty="0" smtClean="0">
                <a:solidFill>
                  <a:srgbClr val="A9B5C7"/>
                </a:solidFill>
              </a:rPr>
              <a:t>Fazit</a:t>
            </a:r>
          </a:p>
          <a:p>
            <a:pPr marL="228600" indent="-228600">
              <a:buFont typeface="+mj-lt"/>
              <a:buAutoNum type="arabicPeriod"/>
            </a:pPr>
            <a:r>
              <a:rPr lang="de-DE" dirty="0">
                <a:solidFill>
                  <a:srgbClr val="A9B5C7"/>
                </a:solidFill>
              </a:rPr>
              <a:t>Live Demo (evtl</a:t>
            </a:r>
            <a:r>
              <a:rPr lang="de-DE" dirty="0" smtClean="0">
                <a:solidFill>
                  <a:srgbClr val="A9B5C7"/>
                </a:solidFill>
              </a:rPr>
              <a:t>.)</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4</a:t>
            </a:fld>
            <a:endParaRPr lang="de-DE" noProof="0" dirty="0"/>
          </a:p>
        </p:txBody>
      </p:sp>
      <p:pic>
        <p:nvPicPr>
          <p:cNvPr id="11268" name="Picture 4" descr="U:\Projektarbeit\Präsentation\img\ChatBackground.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2359" y="2160563"/>
            <a:ext cx="3599340" cy="2672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2757308"/>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2" end="2"/>
                                            </p:txEl>
                                          </p:spTgt>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 calcmode="lin" valueType="num">
                                      <p:cBhvr>
                                        <p:cTn id="11" dur="500" fill="hold"/>
                                        <p:tgtEl>
                                          <p:spTgt spid="5">
                                            <p:txEl>
                                              <p:pRg st="0" end="0"/>
                                            </p:txEl>
                                          </p:spTgt>
                                        </p:tgtEl>
                                        <p:attrNameLst>
                                          <p:attrName>ppt_w</p:attrName>
                                        </p:attrNameLst>
                                      </p:cBhvr>
                                      <p:tavLst>
                                        <p:tav tm="0">
                                          <p:val>
                                            <p:fltVal val="0"/>
                                          </p:val>
                                        </p:tav>
                                        <p:tav tm="100000">
                                          <p:val>
                                            <p:strVal val="#ppt_w"/>
                                          </p:val>
                                        </p:tav>
                                      </p:tavLst>
                                    </p:anim>
                                    <p:anim calcmode="lin" valueType="num">
                                      <p:cBhvr>
                                        <p:cTn id="12" dur="500" fill="hold"/>
                                        <p:tgtEl>
                                          <p:spTgt spid="5">
                                            <p:txEl>
                                              <p:pRg st="0" end="0"/>
                                            </p:txEl>
                                          </p:spTgt>
                                        </p:tgtEl>
                                        <p:attrNameLst>
                                          <p:attrName>ppt_h</p:attrName>
                                        </p:attrNameLst>
                                      </p:cBhvr>
                                      <p:tavLst>
                                        <p:tav tm="0">
                                          <p:val>
                                            <p:fltVal val="0"/>
                                          </p:val>
                                        </p:tav>
                                        <p:tav tm="100000">
                                          <p:val>
                                            <p:strVal val="#ppt_h"/>
                                          </p:val>
                                        </p:tav>
                                      </p:tavLst>
                                    </p:anim>
                                    <p:animEffect transition="in" filter="fade">
                                      <p:cBhvr>
                                        <p:cTn id="13" dur="500"/>
                                        <p:tgtEl>
                                          <p:spTgt spid="5">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 calcmode="lin" valueType="num">
                                      <p:cBhvr>
                                        <p:cTn id="18" dur="500" fill="hold"/>
                                        <p:tgtEl>
                                          <p:spTgt spid="5">
                                            <p:txEl>
                                              <p:pRg st="2" end="2"/>
                                            </p:txEl>
                                          </p:spTgt>
                                        </p:tgtEl>
                                        <p:attrNameLst>
                                          <p:attrName>ppt_w</p:attrName>
                                        </p:attrNameLst>
                                      </p:cBhvr>
                                      <p:tavLst>
                                        <p:tav tm="0">
                                          <p:val>
                                            <p:fltVal val="0"/>
                                          </p:val>
                                        </p:tav>
                                        <p:tav tm="100000">
                                          <p:val>
                                            <p:strVal val="#ppt_w"/>
                                          </p:val>
                                        </p:tav>
                                      </p:tavLst>
                                    </p:anim>
                                    <p:anim calcmode="lin" valueType="num">
                                      <p:cBhvr>
                                        <p:cTn id="19" dur="500" fill="hold"/>
                                        <p:tgtEl>
                                          <p:spTgt spid="5">
                                            <p:txEl>
                                              <p:pRg st="2" end="2"/>
                                            </p:txEl>
                                          </p:spTgt>
                                        </p:tgtEl>
                                        <p:attrNameLst>
                                          <p:attrName>ppt_h</p:attrName>
                                        </p:attrNameLst>
                                      </p:cBhvr>
                                      <p:tavLst>
                                        <p:tav tm="0">
                                          <p:val>
                                            <p:fltVal val="0"/>
                                          </p:val>
                                        </p:tav>
                                        <p:tav tm="100000">
                                          <p:val>
                                            <p:strVal val="#ppt_h"/>
                                          </p:val>
                                        </p:tav>
                                      </p:tavLst>
                                    </p:anim>
                                    <p:animEffect transition="in" filter="fade">
                                      <p:cBhvr>
                                        <p:cTn id="20" dur="500"/>
                                        <p:tgtEl>
                                          <p:spTgt spid="5">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nodeType="clickEffect">
                                  <p:stCondLst>
                                    <p:cond delay="0"/>
                                  </p:stCondLst>
                                  <p:childTnLst>
                                    <p:set>
                                      <p:cBhvr>
                                        <p:cTn id="24" dur="1" fill="hold">
                                          <p:stCondLst>
                                            <p:cond delay="0"/>
                                          </p:stCondLst>
                                        </p:cTn>
                                        <p:tgtEl>
                                          <p:spTgt spid="5">
                                            <p:txEl>
                                              <p:pRg st="4" end="4"/>
                                            </p:txEl>
                                          </p:spTgt>
                                        </p:tgtEl>
                                        <p:attrNameLst>
                                          <p:attrName>style.visibility</p:attrName>
                                        </p:attrNameLst>
                                      </p:cBhvr>
                                      <p:to>
                                        <p:strVal val="visible"/>
                                      </p:to>
                                    </p:set>
                                    <p:anim calcmode="lin" valueType="num">
                                      <p:cBhvr>
                                        <p:cTn id="25" dur="500" fill="hold"/>
                                        <p:tgtEl>
                                          <p:spTgt spid="5">
                                            <p:txEl>
                                              <p:pRg st="4" end="4"/>
                                            </p:txEl>
                                          </p:spTgt>
                                        </p:tgtEl>
                                        <p:attrNameLst>
                                          <p:attrName>ppt_w</p:attrName>
                                        </p:attrNameLst>
                                      </p:cBhvr>
                                      <p:tavLst>
                                        <p:tav tm="0">
                                          <p:val>
                                            <p:fltVal val="0"/>
                                          </p:val>
                                        </p:tav>
                                        <p:tav tm="100000">
                                          <p:val>
                                            <p:strVal val="#ppt_w"/>
                                          </p:val>
                                        </p:tav>
                                      </p:tavLst>
                                    </p:anim>
                                    <p:anim calcmode="lin" valueType="num">
                                      <p:cBhvr>
                                        <p:cTn id="26" dur="500" fill="hold"/>
                                        <p:tgtEl>
                                          <p:spTgt spid="5">
                                            <p:txEl>
                                              <p:pRg st="4" end="4"/>
                                            </p:txEl>
                                          </p:spTgt>
                                        </p:tgtEl>
                                        <p:attrNameLst>
                                          <p:attrName>ppt_h</p:attrName>
                                        </p:attrNameLst>
                                      </p:cBhvr>
                                      <p:tavLst>
                                        <p:tav tm="0">
                                          <p:val>
                                            <p:fltVal val="0"/>
                                          </p:val>
                                        </p:tav>
                                        <p:tav tm="100000">
                                          <p:val>
                                            <p:strVal val="#ppt_h"/>
                                          </p:val>
                                        </p:tav>
                                      </p:tavLst>
                                    </p:anim>
                                    <p:animEffect transition="in" filter="fade">
                                      <p:cBhvr>
                                        <p:cTn id="27"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35909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smtClean="0">
                <a:effectLst>
                  <a:outerShdw blurRad="38100" dist="38100" dir="2700000" algn="tl">
                    <a:srgbClr val="000000">
                      <a:alpha val="43137"/>
                    </a:srgbClr>
                  </a:outerShdw>
                </a:effectLst>
              </a:rPr>
              <a:t>Projektbeschreibung</a:t>
            </a:r>
            <a:endParaRPr lang="de-DE" sz="2000" b="0" dirty="0">
              <a:effectLst>
                <a:outerShdw blurRad="38100" dist="38100" dir="2700000" algn="tl">
                  <a:srgbClr val="000000">
                    <a:alpha val="43137"/>
                  </a:srgbClr>
                </a:outerShdw>
              </a:effectLst>
            </a:endParaRP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rgbClr val="A9B5C7"/>
                </a:solidFill>
              </a:rPr>
              <a:t>Vorstellung</a:t>
            </a:r>
          </a:p>
          <a:p>
            <a:pPr marL="228600" indent="-228600">
              <a:buFont typeface="+mj-lt"/>
              <a:buAutoNum type="arabicPeriod"/>
            </a:pPr>
            <a:r>
              <a:rPr lang="de-DE" dirty="0" smtClean="0">
                <a:solidFill>
                  <a:schemeClr val="tx2"/>
                </a:solidFill>
              </a:rPr>
              <a:t>Thematik</a:t>
            </a:r>
          </a:p>
          <a:p>
            <a:pPr marL="228600" indent="-228600">
              <a:buFont typeface="+mj-lt"/>
              <a:buAutoNum type="arabicPeriod"/>
            </a:pPr>
            <a:r>
              <a:rPr lang="de-DE" dirty="0" smtClean="0">
                <a:solidFill>
                  <a:srgbClr val="A9B5C7"/>
                </a:solidFill>
              </a:rPr>
              <a:t>Analyse</a:t>
            </a:r>
          </a:p>
          <a:p>
            <a:pPr marL="228600" indent="-228600">
              <a:buFont typeface="+mj-lt"/>
              <a:buAutoNum type="arabicPeriod"/>
            </a:pPr>
            <a:r>
              <a:rPr lang="de-DE" dirty="0" smtClean="0">
                <a:solidFill>
                  <a:srgbClr val="A9B5C7"/>
                </a:solidFill>
              </a:rPr>
              <a:t>Entwurf</a:t>
            </a:r>
          </a:p>
          <a:p>
            <a:pPr marL="228600" indent="-228600">
              <a:buFont typeface="+mj-lt"/>
              <a:buAutoNum type="arabicPeriod"/>
            </a:pPr>
            <a:r>
              <a:rPr lang="de-DE" dirty="0" smtClean="0">
                <a:solidFill>
                  <a:srgbClr val="A9B5C7"/>
                </a:solidFill>
              </a:rPr>
              <a:t>Implementierung</a:t>
            </a:r>
          </a:p>
          <a:p>
            <a:pPr marL="228600" indent="-228600">
              <a:buFont typeface="+mj-lt"/>
              <a:buAutoNum type="arabicPeriod"/>
            </a:pPr>
            <a:r>
              <a:rPr lang="de-DE" dirty="0" smtClean="0">
                <a:solidFill>
                  <a:srgbClr val="A9B5C7"/>
                </a:solidFill>
              </a:rPr>
              <a:t>Fazit</a:t>
            </a:r>
          </a:p>
          <a:p>
            <a:pPr marL="228600" indent="-228600">
              <a:buFont typeface="+mj-lt"/>
              <a:buAutoNum type="arabicPeriod"/>
            </a:pPr>
            <a:r>
              <a:rPr lang="de-DE" dirty="0">
                <a:solidFill>
                  <a:srgbClr val="A9B5C7"/>
                </a:solidFill>
              </a:rPr>
              <a:t>Live Demo (evtl</a:t>
            </a:r>
            <a:r>
              <a:rPr lang="de-DE" dirty="0" smtClean="0">
                <a:solidFill>
                  <a:srgbClr val="A9B5C7"/>
                </a:solidFill>
              </a:rPr>
              <a:t>.)</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5</a:t>
            </a:fld>
            <a:endParaRPr lang="de-DE" noProof="0" dirty="0"/>
          </a:p>
        </p:txBody>
      </p:sp>
      <p:pic>
        <p:nvPicPr>
          <p:cNvPr id="10244" name="Picture 4" descr="U:\Projektarbeit\Präsentation\img\UserNeedHelp.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0326" y="948900"/>
            <a:ext cx="1349176" cy="1349176"/>
          </a:xfrm>
          <a:prstGeom prst="rect">
            <a:avLst/>
          </a:prstGeom>
          <a:noFill/>
          <a:extLst>
            <a:ext uri="{909E8E84-426E-40DD-AFC4-6F175D3DCCD1}">
              <a14:hiddenFill xmlns:a14="http://schemas.microsoft.com/office/drawing/2010/main">
                <a:solidFill>
                  <a:srgbClr val="FFFFFF"/>
                </a:solidFill>
              </a14:hiddenFill>
            </a:ext>
          </a:extLst>
        </p:spPr>
      </p:pic>
      <p:pic>
        <p:nvPicPr>
          <p:cNvPr id="10245" name="Picture 5" descr="U:\Projektarbeit\Präsentation\img\BrowserIcon.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56495" y="2448595"/>
            <a:ext cx="1406166" cy="1406166"/>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U:\Projektarbeit\Präsentation\img\ChatGuy.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04767" y="3166295"/>
            <a:ext cx="1625600" cy="1625600"/>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U:\Projektarbeit\Präsentation\img\DatabaseIcon.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62661" y="948900"/>
            <a:ext cx="664518" cy="664518"/>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Gekrümmte Verbindung 15"/>
          <p:cNvCxnSpPr>
            <a:endCxn id="10248" idx="2"/>
          </p:cNvCxnSpPr>
          <p:nvPr/>
        </p:nvCxnSpPr>
        <p:spPr>
          <a:xfrm rot="5400000" flipH="1" flipV="1">
            <a:off x="3124629" y="1981388"/>
            <a:ext cx="1538260" cy="802321"/>
          </a:xfrm>
          <a:prstGeom prst="curvedConnector3">
            <a:avLst>
              <a:gd name="adj1" fmla="val 50352"/>
            </a:avLst>
          </a:prstGeom>
          <a:ln>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6" name="Gekrümmte Verbindung 25"/>
          <p:cNvCxnSpPr>
            <a:stCxn id="10248" idx="1"/>
          </p:cNvCxnSpPr>
          <p:nvPr/>
        </p:nvCxnSpPr>
        <p:spPr>
          <a:xfrm rot="10800000" flipV="1">
            <a:off x="3259579" y="1281159"/>
            <a:ext cx="703082" cy="1815508"/>
          </a:xfrm>
          <a:prstGeom prst="curvedConnector2">
            <a:avLst/>
          </a:prstGeom>
          <a:ln>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rot="17746338">
            <a:off x="2806279" y="1771355"/>
            <a:ext cx="1010522" cy="216024"/>
          </a:xfrm>
          <a:prstGeom prst="rect">
            <a:avLst/>
          </a:prstGeom>
          <a:noFill/>
        </p:spPr>
        <p:txBody>
          <a:bodyPr wrap="square" lIns="0" tIns="0" rIns="0" bIns="0" rtlCol="0">
            <a:noAutofit/>
          </a:bodyPr>
          <a:lstStyle/>
          <a:p>
            <a:r>
              <a:rPr lang="de-DE" dirty="0" smtClean="0">
                <a:solidFill>
                  <a:schemeClr val="tx2"/>
                </a:solidFill>
              </a:rPr>
              <a:t>Mitarbeiter Data</a:t>
            </a:r>
          </a:p>
        </p:txBody>
      </p:sp>
      <p:cxnSp>
        <p:nvCxnSpPr>
          <p:cNvPr id="38" name="Gekrümmte Verbindung 37"/>
          <p:cNvCxnSpPr>
            <a:endCxn id="44" idx="3"/>
          </p:cNvCxnSpPr>
          <p:nvPr/>
        </p:nvCxnSpPr>
        <p:spPr>
          <a:xfrm rot="10800000" flipV="1">
            <a:off x="1387142" y="3456706"/>
            <a:ext cx="2129888" cy="987591"/>
          </a:xfrm>
          <a:prstGeom prst="curvedConnector3">
            <a:avLst>
              <a:gd name="adj1" fmla="val 50000"/>
            </a:avLst>
          </a:prstGeom>
          <a:ln>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pic>
        <p:nvPicPr>
          <p:cNvPr id="10256" name="Picture 16" descr="U:\Projektarbeit\Präsentation\img\chatIco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500336" y="3329572"/>
            <a:ext cx="254270" cy="254270"/>
          </a:xfrm>
          <a:prstGeom prst="rect">
            <a:avLst/>
          </a:prstGeom>
          <a:noFill/>
          <a:extLst>
            <a:ext uri="{909E8E84-426E-40DD-AFC4-6F175D3DCCD1}">
              <a14:hiddenFill xmlns:a14="http://schemas.microsoft.com/office/drawing/2010/main">
                <a:solidFill>
                  <a:srgbClr val="FFFFFF"/>
                </a:solidFill>
              </a14:hiddenFill>
            </a:ext>
          </a:extLst>
        </p:spPr>
      </p:pic>
      <p:sp>
        <p:nvSpPr>
          <p:cNvPr id="43" name="Textfeld 42"/>
          <p:cNvSpPr txBox="1"/>
          <p:nvPr/>
        </p:nvSpPr>
        <p:spPr>
          <a:xfrm rot="20031196">
            <a:off x="1890796" y="4218787"/>
            <a:ext cx="1010522" cy="216024"/>
          </a:xfrm>
          <a:prstGeom prst="rect">
            <a:avLst/>
          </a:prstGeom>
          <a:noFill/>
        </p:spPr>
        <p:txBody>
          <a:bodyPr wrap="square" lIns="0" tIns="0" rIns="0" bIns="0" rtlCol="0">
            <a:noAutofit/>
          </a:bodyPr>
          <a:lstStyle/>
          <a:p>
            <a:r>
              <a:rPr lang="de-DE" dirty="0" smtClean="0">
                <a:solidFill>
                  <a:schemeClr val="tx2"/>
                </a:solidFill>
              </a:rPr>
              <a:t>Mitarbeiter Data</a:t>
            </a:r>
          </a:p>
        </p:txBody>
      </p:sp>
      <p:pic>
        <p:nvPicPr>
          <p:cNvPr id="44" name="Picture 8" descr="U:\Projektarbeit\Präsentation\img\DatabaseIcon.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22624" y="4112039"/>
            <a:ext cx="664518" cy="664518"/>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Gekrümmte Verbindung 45"/>
          <p:cNvCxnSpPr>
            <a:stCxn id="44" idx="0"/>
            <a:endCxn id="10256" idx="1"/>
          </p:cNvCxnSpPr>
          <p:nvPr/>
        </p:nvCxnSpPr>
        <p:spPr>
          <a:xfrm rot="5400000" flipH="1" flipV="1">
            <a:off x="1949943" y="2561647"/>
            <a:ext cx="655332" cy="2445453"/>
          </a:xfrm>
          <a:prstGeom prst="curvedConnector2">
            <a:avLst/>
          </a:prstGeom>
          <a:ln>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rot="20661480">
            <a:off x="1091213" y="3422928"/>
            <a:ext cx="1010522" cy="216024"/>
          </a:xfrm>
          <a:prstGeom prst="rect">
            <a:avLst/>
          </a:prstGeom>
          <a:noFill/>
        </p:spPr>
        <p:txBody>
          <a:bodyPr wrap="square" lIns="0" tIns="0" rIns="0" bIns="0" rtlCol="0">
            <a:noAutofit/>
          </a:bodyPr>
          <a:lstStyle/>
          <a:p>
            <a:r>
              <a:rPr lang="de-DE" dirty="0" smtClean="0">
                <a:solidFill>
                  <a:schemeClr val="tx2"/>
                </a:solidFill>
              </a:rPr>
              <a:t>Chat Data</a:t>
            </a:r>
          </a:p>
        </p:txBody>
      </p:sp>
      <p:pic>
        <p:nvPicPr>
          <p:cNvPr id="10260" name="Picture 20" descr="U:\Projektarbeit\Präsentation\img\ChatBubbleIcon.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67745" y="2088555"/>
            <a:ext cx="1625600" cy="1282700"/>
          </a:xfrm>
          <a:prstGeom prst="rect">
            <a:avLst/>
          </a:prstGeom>
          <a:noFill/>
          <a:ln>
            <a:noFill/>
          </a:ln>
          <a:effectLst/>
        </p:spPr>
      </p:pic>
      <p:sp>
        <p:nvSpPr>
          <p:cNvPr id="7" name="Textfeld 6"/>
          <p:cNvSpPr txBox="1"/>
          <p:nvPr/>
        </p:nvSpPr>
        <p:spPr>
          <a:xfrm>
            <a:off x="3935925" y="2390371"/>
            <a:ext cx="1240724" cy="507831"/>
          </a:xfrm>
          <a:prstGeom prst="rect">
            <a:avLst/>
          </a:prstGeom>
          <a:noFill/>
        </p:spPr>
        <p:txBody>
          <a:bodyPr vert="horz" wrap="none" lIns="0" tIns="0" rIns="0" bIns="0" rtlCol="0" anchor="t" anchorCtr="0">
            <a:spAutoFit/>
          </a:bodyPr>
          <a:lstStyle/>
          <a:p>
            <a:r>
              <a:rPr lang="de-DE" dirty="0" smtClean="0"/>
              <a:t>Hallo, ich habe eine</a:t>
            </a:r>
          </a:p>
          <a:p>
            <a:r>
              <a:rPr lang="de-DE" dirty="0" smtClean="0"/>
              <a:t> Frage zu einem </a:t>
            </a:r>
          </a:p>
          <a:p>
            <a:r>
              <a:rPr lang="de-DE" dirty="0" smtClean="0"/>
              <a:t>Thema…</a:t>
            </a:r>
            <a:endParaRPr lang="de-DE" dirty="0" smtClean="0"/>
          </a:p>
        </p:txBody>
      </p:sp>
      <p:cxnSp>
        <p:nvCxnSpPr>
          <p:cNvPr id="25" name="Gekrümmte Verbindung 24"/>
          <p:cNvCxnSpPr>
            <a:stCxn id="10256" idx="3"/>
            <a:endCxn id="10246" idx="1"/>
          </p:cNvCxnSpPr>
          <p:nvPr/>
        </p:nvCxnSpPr>
        <p:spPr>
          <a:xfrm>
            <a:off x="3754606" y="3456707"/>
            <a:ext cx="1250161" cy="522388"/>
          </a:xfrm>
          <a:prstGeom prst="curvedConnector3">
            <a:avLst>
              <a:gd name="adj1" fmla="val 50000"/>
            </a:avLst>
          </a:prstGeom>
          <a:ln>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5427645"/>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2" end="2"/>
                                            </p:txEl>
                                          </p:spTgt>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10244"/>
                                        </p:tgtEl>
                                        <p:attrNameLst>
                                          <p:attrName>style.visibility</p:attrName>
                                        </p:attrNameLst>
                                      </p:cBhvr>
                                      <p:to>
                                        <p:strVal val="visible"/>
                                      </p:to>
                                    </p:set>
                                    <p:anim calcmode="lin" valueType="num">
                                      <p:cBhvr>
                                        <p:cTn id="11" dur="500" fill="hold"/>
                                        <p:tgtEl>
                                          <p:spTgt spid="10244"/>
                                        </p:tgtEl>
                                        <p:attrNameLst>
                                          <p:attrName>ppt_w</p:attrName>
                                        </p:attrNameLst>
                                      </p:cBhvr>
                                      <p:tavLst>
                                        <p:tav tm="0">
                                          <p:val>
                                            <p:fltVal val="0"/>
                                          </p:val>
                                        </p:tav>
                                        <p:tav tm="100000">
                                          <p:val>
                                            <p:strVal val="#ppt_w"/>
                                          </p:val>
                                        </p:tav>
                                      </p:tavLst>
                                    </p:anim>
                                    <p:anim calcmode="lin" valueType="num">
                                      <p:cBhvr>
                                        <p:cTn id="12" dur="500" fill="hold"/>
                                        <p:tgtEl>
                                          <p:spTgt spid="10244"/>
                                        </p:tgtEl>
                                        <p:attrNameLst>
                                          <p:attrName>ppt_h</p:attrName>
                                        </p:attrNameLst>
                                      </p:cBhvr>
                                      <p:tavLst>
                                        <p:tav tm="0">
                                          <p:val>
                                            <p:fltVal val="0"/>
                                          </p:val>
                                        </p:tav>
                                        <p:tav tm="100000">
                                          <p:val>
                                            <p:strVal val="#ppt_h"/>
                                          </p:val>
                                        </p:tav>
                                      </p:tavLst>
                                    </p:anim>
                                    <p:animEffect transition="in" filter="fade">
                                      <p:cBhvr>
                                        <p:cTn id="13" dur="500"/>
                                        <p:tgtEl>
                                          <p:spTgt spid="10244"/>
                                        </p:tgtEl>
                                      </p:cBhvr>
                                    </p:animEffect>
                                  </p:childTnLst>
                                </p:cTn>
                              </p:par>
                            </p:childTnLst>
                          </p:cTn>
                        </p:par>
                      </p:childTnLst>
                    </p:cTn>
                  </p:par>
                  <p:par>
                    <p:cTn id="14" fill="hold">
                      <p:stCondLst>
                        <p:cond delay="indefinite"/>
                      </p:stCondLst>
                      <p:childTnLst>
                        <p:par>
                          <p:cTn id="15" fill="hold">
                            <p:stCondLst>
                              <p:cond delay="0"/>
                            </p:stCondLst>
                            <p:childTnLst>
                              <p:par>
                                <p:cTn id="16" presetID="50" presetClass="path" presetSubtype="0" accel="50000" decel="50000" fill="hold" nodeType="clickEffect">
                                  <p:stCondLst>
                                    <p:cond delay="0"/>
                                  </p:stCondLst>
                                  <p:childTnLst>
                                    <p:animMotion origin="layout" path="M 3.54473E-6 -3.38498E-6 L 0.12305 -3.38498E-6 C 0.17828 -3.38498E-6 0.24674 0.06586 0.24674 0.11919 L 0.24674 0.23838 " pathEditMode="relative" rAng="0" ptsTypes="FfFF">
                                      <p:cBhvr>
                                        <p:cTn id="17" dur="2000" fill="hold"/>
                                        <p:tgtEl>
                                          <p:spTgt spid="10244"/>
                                        </p:tgtEl>
                                        <p:attrNameLst>
                                          <p:attrName>ppt_x</p:attrName>
                                          <p:attrName>ppt_y</p:attrName>
                                        </p:attrNameLst>
                                      </p:cBhvr>
                                      <p:rCtr x="12327" y="11919"/>
                                    </p:animMotion>
                                  </p:childTnLst>
                                </p:cTn>
                              </p:par>
                            </p:childTnLst>
                          </p:cTn>
                        </p:par>
                        <p:par>
                          <p:cTn id="18" fill="hold">
                            <p:stCondLst>
                              <p:cond delay="2000"/>
                            </p:stCondLst>
                            <p:childTnLst>
                              <p:par>
                                <p:cTn id="19" presetID="42" presetClass="exit" presetSubtype="0" fill="hold" nodeType="afterEffect">
                                  <p:stCondLst>
                                    <p:cond delay="0"/>
                                  </p:stCondLst>
                                  <p:childTnLst>
                                    <p:animEffect transition="out" filter="fade">
                                      <p:cBhvr>
                                        <p:cTn id="20" dur="1000"/>
                                        <p:tgtEl>
                                          <p:spTgt spid="10244"/>
                                        </p:tgtEl>
                                      </p:cBhvr>
                                    </p:animEffect>
                                    <p:anim calcmode="lin" valueType="num">
                                      <p:cBhvr>
                                        <p:cTn id="21" dur="1000"/>
                                        <p:tgtEl>
                                          <p:spTgt spid="10244"/>
                                        </p:tgtEl>
                                        <p:attrNameLst>
                                          <p:attrName>ppt_x</p:attrName>
                                        </p:attrNameLst>
                                      </p:cBhvr>
                                      <p:tavLst>
                                        <p:tav tm="0">
                                          <p:val>
                                            <p:strVal val="ppt_x"/>
                                          </p:val>
                                        </p:tav>
                                        <p:tav tm="100000">
                                          <p:val>
                                            <p:strVal val="ppt_x"/>
                                          </p:val>
                                        </p:tav>
                                      </p:tavLst>
                                    </p:anim>
                                    <p:anim calcmode="lin" valueType="num">
                                      <p:cBhvr>
                                        <p:cTn id="22" dur="1000"/>
                                        <p:tgtEl>
                                          <p:spTgt spid="10244"/>
                                        </p:tgtEl>
                                        <p:attrNameLst>
                                          <p:attrName>ppt_y</p:attrName>
                                        </p:attrNameLst>
                                      </p:cBhvr>
                                      <p:tavLst>
                                        <p:tav tm="0">
                                          <p:val>
                                            <p:strVal val="ppt_y"/>
                                          </p:val>
                                        </p:tav>
                                        <p:tav tm="100000">
                                          <p:val>
                                            <p:strVal val="ppt_y+.1"/>
                                          </p:val>
                                        </p:tav>
                                      </p:tavLst>
                                    </p:anim>
                                    <p:set>
                                      <p:cBhvr>
                                        <p:cTn id="23" dur="1" fill="hold">
                                          <p:stCondLst>
                                            <p:cond delay="999"/>
                                          </p:stCondLst>
                                        </p:cTn>
                                        <p:tgtEl>
                                          <p:spTgt spid="10244"/>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6"/>
                                        </p:tgtEl>
                                        <p:attrNameLst>
                                          <p:attrName>style.visibility</p:attrName>
                                        </p:attrNameLst>
                                      </p:cBhvr>
                                      <p:to>
                                        <p:strVal val="visible"/>
                                      </p:to>
                                    </p:set>
                                    <p:anim calcmode="lin" valueType="num">
                                      <p:cBhvr>
                                        <p:cTn id="28" dur="1000" fill="hold"/>
                                        <p:tgtEl>
                                          <p:spTgt spid="16"/>
                                        </p:tgtEl>
                                        <p:attrNameLst>
                                          <p:attrName>ppt_w</p:attrName>
                                        </p:attrNameLst>
                                      </p:cBhvr>
                                      <p:tavLst>
                                        <p:tav tm="0">
                                          <p:val>
                                            <p:fltVal val="0"/>
                                          </p:val>
                                        </p:tav>
                                        <p:tav tm="100000">
                                          <p:val>
                                            <p:strVal val="#ppt_w"/>
                                          </p:val>
                                        </p:tav>
                                      </p:tavLst>
                                    </p:anim>
                                    <p:anim calcmode="lin" valueType="num">
                                      <p:cBhvr>
                                        <p:cTn id="29" dur="1000" fill="hold"/>
                                        <p:tgtEl>
                                          <p:spTgt spid="16"/>
                                        </p:tgtEl>
                                        <p:attrNameLst>
                                          <p:attrName>ppt_h</p:attrName>
                                        </p:attrNameLst>
                                      </p:cBhvr>
                                      <p:tavLst>
                                        <p:tav tm="0">
                                          <p:val>
                                            <p:fltVal val="0"/>
                                          </p:val>
                                        </p:tav>
                                        <p:tav tm="100000">
                                          <p:val>
                                            <p:strVal val="#ppt_h"/>
                                          </p:val>
                                        </p:tav>
                                      </p:tavLst>
                                    </p:anim>
                                    <p:animEffect transition="in" filter="fade">
                                      <p:cBhvr>
                                        <p:cTn id="30" dur="1000"/>
                                        <p:tgtEl>
                                          <p:spTgt spid="16"/>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10248"/>
                                        </p:tgtEl>
                                        <p:attrNameLst>
                                          <p:attrName>style.visibility</p:attrName>
                                        </p:attrNameLst>
                                      </p:cBhvr>
                                      <p:to>
                                        <p:strVal val="visible"/>
                                      </p:to>
                                    </p:set>
                                    <p:anim calcmode="lin" valueType="num">
                                      <p:cBhvr>
                                        <p:cTn id="35" dur="500" fill="hold"/>
                                        <p:tgtEl>
                                          <p:spTgt spid="10248"/>
                                        </p:tgtEl>
                                        <p:attrNameLst>
                                          <p:attrName>ppt_w</p:attrName>
                                        </p:attrNameLst>
                                      </p:cBhvr>
                                      <p:tavLst>
                                        <p:tav tm="0">
                                          <p:val>
                                            <p:fltVal val="0"/>
                                          </p:val>
                                        </p:tav>
                                        <p:tav tm="100000">
                                          <p:val>
                                            <p:strVal val="#ppt_w"/>
                                          </p:val>
                                        </p:tav>
                                      </p:tavLst>
                                    </p:anim>
                                    <p:anim calcmode="lin" valueType="num">
                                      <p:cBhvr>
                                        <p:cTn id="36" dur="500" fill="hold"/>
                                        <p:tgtEl>
                                          <p:spTgt spid="10248"/>
                                        </p:tgtEl>
                                        <p:attrNameLst>
                                          <p:attrName>ppt_h</p:attrName>
                                        </p:attrNameLst>
                                      </p:cBhvr>
                                      <p:tavLst>
                                        <p:tav tm="0">
                                          <p:val>
                                            <p:fltVal val="0"/>
                                          </p:val>
                                        </p:tav>
                                        <p:tav tm="100000">
                                          <p:val>
                                            <p:strVal val="#ppt_h"/>
                                          </p:val>
                                        </p:tav>
                                      </p:tavLst>
                                    </p:anim>
                                    <p:animEffect transition="in" filter="fade">
                                      <p:cBhvr>
                                        <p:cTn id="37" dur="500"/>
                                        <p:tgtEl>
                                          <p:spTgt spid="10248"/>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 calcmode="lin" valueType="num">
                                      <p:cBhvr>
                                        <p:cTn id="42" dur="1000" fill="hold"/>
                                        <p:tgtEl>
                                          <p:spTgt spid="26"/>
                                        </p:tgtEl>
                                        <p:attrNameLst>
                                          <p:attrName>ppt_w</p:attrName>
                                        </p:attrNameLst>
                                      </p:cBhvr>
                                      <p:tavLst>
                                        <p:tav tm="0">
                                          <p:val>
                                            <p:fltVal val="0"/>
                                          </p:val>
                                        </p:tav>
                                        <p:tav tm="100000">
                                          <p:val>
                                            <p:strVal val="#ppt_w"/>
                                          </p:val>
                                        </p:tav>
                                      </p:tavLst>
                                    </p:anim>
                                    <p:anim calcmode="lin" valueType="num">
                                      <p:cBhvr>
                                        <p:cTn id="43" dur="1000" fill="hold"/>
                                        <p:tgtEl>
                                          <p:spTgt spid="26"/>
                                        </p:tgtEl>
                                        <p:attrNameLst>
                                          <p:attrName>ppt_h</p:attrName>
                                        </p:attrNameLst>
                                      </p:cBhvr>
                                      <p:tavLst>
                                        <p:tav tm="0">
                                          <p:val>
                                            <p:fltVal val="0"/>
                                          </p:val>
                                        </p:tav>
                                        <p:tav tm="100000">
                                          <p:val>
                                            <p:strVal val="#ppt_h"/>
                                          </p:val>
                                        </p:tav>
                                      </p:tavLst>
                                    </p:anim>
                                    <p:animEffect transition="in" filter="fade">
                                      <p:cBhvr>
                                        <p:cTn id="44" dur="1000"/>
                                        <p:tgtEl>
                                          <p:spTgt spid="26"/>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28"/>
                                        </p:tgtEl>
                                        <p:attrNameLst>
                                          <p:attrName>style.visibility</p:attrName>
                                        </p:attrNameLst>
                                      </p:cBhvr>
                                      <p:to>
                                        <p:strVal val="visible"/>
                                      </p:to>
                                    </p:set>
                                    <p:anim calcmode="lin" valueType="num">
                                      <p:cBhvr>
                                        <p:cTn id="47" dur="500" fill="hold"/>
                                        <p:tgtEl>
                                          <p:spTgt spid="28"/>
                                        </p:tgtEl>
                                        <p:attrNameLst>
                                          <p:attrName>ppt_w</p:attrName>
                                        </p:attrNameLst>
                                      </p:cBhvr>
                                      <p:tavLst>
                                        <p:tav tm="0">
                                          <p:val>
                                            <p:fltVal val="0"/>
                                          </p:val>
                                        </p:tav>
                                        <p:tav tm="100000">
                                          <p:val>
                                            <p:strVal val="#ppt_w"/>
                                          </p:val>
                                        </p:tav>
                                      </p:tavLst>
                                    </p:anim>
                                    <p:anim calcmode="lin" valueType="num">
                                      <p:cBhvr>
                                        <p:cTn id="48" dur="500" fill="hold"/>
                                        <p:tgtEl>
                                          <p:spTgt spid="28"/>
                                        </p:tgtEl>
                                        <p:attrNameLst>
                                          <p:attrName>ppt_h</p:attrName>
                                        </p:attrNameLst>
                                      </p:cBhvr>
                                      <p:tavLst>
                                        <p:tav tm="0">
                                          <p:val>
                                            <p:fltVal val="0"/>
                                          </p:val>
                                        </p:tav>
                                        <p:tav tm="100000">
                                          <p:val>
                                            <p:strVal val="#ppt_h"/>
                                          </p:val>
                                        </p:tav>
                                      </p:tavLst>
                                    </p:anim>
                                    <p:animEffect transition="in" filter="fade">
                                      <p:cBhvr>
                                        <p:cTn id="49" dur="500"/>
                                        <p:tgtEl>
                                          <p:spTgt spid="28"/>
                                        </p:tgtEl>
                                      </p:cBhvr>
                                    </p:animEffect>
                                  </p:childTnLst>
                                </p:cTn>
                              </p:par>
                            </p:childTnLst>
                          </p:cTn>
                        </p:par>
                      </p:childTnLst>
                    </p:cTn>
                  </p:par>
                  <p:par>
                    <p:cTn id="50" fill="hold">
                      <p:stCondLst>
                        <p:cond delay="indefinite"/>
                      </p:stCondLst>
                      <p:childTnLst>
                        <p:par>
                          <p:cTn id="51" fill="hold">
                            <p:stCondLst>
                              <p:cond delay="0"/>
                            </p:stCondLst>
                            <p:childTnLst>
                              <p:par>
                                <p:cTn id="52" presetID="53" presetClass="entr" presetSubtype="16" fill="hold" nodeType="clickEffect">
                                  <p:stCondLst>
                                    <p:cond delay="0"/>
                                  </p:stCondLst>
                                  <p:childTnLst>
                                    <p:set>
                                      <p:cBhvr>
                                        <p:cTn id="53" dur="1" fill="hold">
                                          <p:stCondLst>
                                            <p:cond delay="0"/>
                                          </p:stCondLst>
                                        </p:cTn>
                                        <p:tgtEl>
                                          <p:spTgt spid="38"/>
                                        </p:tgtEl>
                                        <p:attrNameLst>
                                          <p:attrName>style.visibility</p:attrName>
                                        </p:attrNameLst>
                                      </p:cBhvr>
                                      <p:to>
                                        <p:strVal val="visible"/>
                                      </p:to>
                                    </p:set>
                                    <p:anim calcmode="lin" valueType="num">
                                      <p:cBhvr>
                                        <p:cTn id="54" dur="1000" fill="hold"/>
                                        <p:tgtEl>
                                          <p:spTgt spid="38"/>
                                        </p:tgtEl>
                                        <p:attrNameLst>
                                          <p:attrName>ppt_w</p:attrName>
                                        </p:attrNameLst>
                                      </p:cBhvr>
                                      <p:tavLst>
                                        <p:tav tm="0">
                                          <p:val>
                                            <p:fltVal val="0"/>
                                          </p:val>
                                        </p:tav>
                                        <p:tav tm="100000">
                                          <p:val>
                                            <p:strVal val="#ppt_w"/>
                                          </p:val>
                                        </p:tav>
                                      </p:tavLst>
                                    </p:anim>
                                    <p:anim calcmode="lin" valueType="num">
                                      <p:cBhvr>
                                        <p:cTn id="55" dur="1000" fill="hold"/>
                                        <p:tgtEl>
                                          <p:spTgt spid="38"/>
                                        </p:tgtEl>
                                        <p:attrNameLst>
                                          <p:attrName>ppt_h</p:attrName>
                                        </p:attrNameLst>
                                      </p:cBhvr>
                                      <p:tavLst>
                                        <p:tav tm="0">
                                          <p:val>
                                            <p:fltVal val="0"/>
                                          </p:val>
                                        </p:tav>
                                        <p:tav tm="100000">
                                          <p:val>
                                            <p:strVal val="#ppt_h"/>
                                          </p:val>
                                        </p:tav>
                                      </p:tavLst>
                                    </p:anim>
                                    <p:animEffect transition="in" filter="fade">
                                      <p:cBhvr>
                                        <p:cTn id="56" dur="1000"/>
                                        <p:tgtEl>
                                          <p:spTgt spid="38"/>
                                        </p:tgtEl>
                                      </p:cBhvr>
                                    </p:animEffect>
                                  </p:childTnLst>
                                </p:cTn>
                              </p:par>
                              <p:par>
                                <p:cTn id="57" presetID="53" presetClass="entr" presetSubtype="16" fill="hold" grpId="0" nodeType="withEffect">
                                  <p:stCondLst>
                                    <p:cond delay="0"/>
                                  </p:stCondLst>
                                  <p:childTnLst>
                                    <p:set>
                                      <p:cBhvr>
                                        <p:cTn id="58" dur="1" fill="hold">
                                          <p:stCondLst>
                                            <p:cond delay="0"/>
                                          </p:stCondLst>
                                        </p:cTn>
                                        <p:tgtEl>
                                          <p:spTgt spid="43"/>
                                        </p:tgtEl>
                                        <p:attrNameLst>
                                          <p:attrName>style.visibility</p:attrName>
                                        </p:attrNameLst>
                                      </p:cBhvr>
                                      <p:to>
                                        <p:strVal val="visible"/>
                                      </p:to>
                                    </p:set>
                                    <p:anim calcmode="lin" valueType="num">
                                      <p:cBhvr>
                                        <p:cTn id="59" dur="500" fill="hold"/>
                                        <p:tgtEl>
                                          <p:spTgt spid="43"/>
                                        </p:tgtEl>
                                        <p:attrNameLst>
                                          <p:attrName>ppt_w</p:attrName>
                                        </p:attrNameLst>
                                      </p:cBhvr>
                                      <p:tavLst>
                                        <p:tav tm="0">
                                          <p:val>
                                            <p:fltVal val="0"/>
                                          </p:val>
                                        </p:tav>
                                        <p:tav tm="100000">
                                          <p:val>
                                            <p:strVal val="#ppt_w"/>
                                          </p:val>
                                        </p:tav>
                                      </p:tavLst>
                                    </p:anim>
                                    <p:anim calcmode="lin" valueType="num">
                                      <p:cBhvr>
                                        <p:cTn id="60" dur="500" fill="hold"/>
                                        <p:tgtEl>
                                          <p:spTgt spid="43"/>
                                        </p:tgtEl>
                                        <p:attrNameLst>
                                          <p:attrName>ppt_h</p:attrName>
                                        </p:attrNameLst>
                                      </p:cBhvr>
                                      <p:tavLst>
                                        <p:tav tm="0">
                                          <p:val>
                                            <p:fltVal val="0"/>
                                          </p:val>
                                        </p:tav>
                                        <p:tav tm="100000">
                                          <p:val>
                                            <p:strVal val="#ppt_h"/>
                                          </p:val>
                                        </p:tav>
                                      </p:tavLst>
                                    </p:anim>
                                    <p:animEffect transition="in" filter="fade">
                                      <p:cBhvr>
                                        <p:cTn id="61" dur="500"/>
                                        <p:tgtEl>
                                          <p:spTgt spid="43"/>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nodeType="clickEffect">
                                  <p:stCondLst>
                                    <p:cond delay="0"/>
                                  </p:stCondLst>
                                  <p:childTnLst>
                                    <p:set>
                                      <p:cBhvr>
                                        <p:cTn id="65" dur="1" fill="hold">
                                          <p:stCondLst>
                                            <p:cond delay="0"/>
                                          </p:stCondLst>
                                        </p:cTn>
                                        <p:tgtEl>
                                          <p:spTgt spid="44"/>
                                        </p:tgtEl>
                                        <p:attrNameLst>
                                          <p:attrName>style.visibility</p:attrName>
                                        </p:attrNameLst>
                                      </p:cBhvr>
                                      <p:to>
                                        <p:strVal val="visible"/>
                                      </p:to>
                                    </p:set>
                                    <p:anim calcmode="lin" valueType="num">
                                      <p:cBhvr>
                                        <p:cTn id="66" dur="500" fill="hold"/>
                                        <p:tgtEl>
                                          <p:spTgt spid="44"/>
                                        </p:tgtEl>
                                        <p:attrNameLst>
                                          <p:attrName>ppt_w</p:attrName>
                                        </p:attrNameLst>
                                      </p:cBhvr>
                                      <p:tavLst>
                                        <p:tav tm="0">
                                          <p:val>
                                            <p:fltVal val="0"/>
                                          </p:val>
                                        </p:tav>
                                        <p:tav tm="100000">
                                          <p:val>
                                            <p:strVal val="#ppt_w"/>
                                          </p:val>
                                        </p:tav>
                                      </p:tavLst>
                                    </p:anim>
                                    <p:anim calcmode="lin" valueType="num">
                                      <p:cBhvr>
                                        <p:cTn id="67" dur="500" fill="hold"/>
                                        <p:tgtEl>
                                          <p:spTgt spid="44"/>
                                        </p:tgtEl>
                                        <p:attrNameLst>
                                          <p:attrName>ppt_h</p:attrName>
                                        </p:attrNameLst>
                                      </p:cBhvr>
                                      <p:tavLst>
                                        <p:tav tm="0">
                                          <p:val>
                                            <p:fltVal val="0"/>
                                          </p:val>
                                        </p:tav>
                                        <p:tav tm="100000">
                                          <p:val>
                                            <p:strVal val="#ppt_h"/>
                                          </p:val>
                                        </p:tav>
                                      </p:tavLst>
                                    </p:anim>
                                    <p:animEffect transition="in" filter="fade">
                                      <p:cBhvr>
                                        <p:cTn id="68" dur="500"/>
                                        <p:tgtEl>
                                          <p:spTgt spid="44"/>
                                        </p:tgtEl>
                                      </p:cBhvr>
                                    </p:animEffect>
                                  </p:childTnLst>
                                </p:cTn>
                              </p:par>
                            </p:childTnLst>
                          </p:cTn>
                        </p:par>
                      </p:childTnLst>
                    </p:cTn>
                  </p:par>
                  <p:par>
                    <p:cTn id="69" fill="hold">
                      <p:stCondLst>
                        <p:cond delay="indefinite"/>
                      </p:stCondLst>
                      <p:childTnLst>
                        <p:par>
                          <p:cTn id="70" fill="hold">
                            <p:stCondLst>
                              <p:cond delay="0"/>
                            </p:stCondLst>
                            <p:childTnLst>
                              <p:par>
                                <p:cTn id="71" presetID="53" presetClass="entr" presetSubtype="16" fill="hold" nodeType="clickEffect">
                                  <p:stCondLst>
                                    <p:cond delay="0"/>
                                  </p:stCondLst>
                                  <p:childTnLst>
                                    <p:set>
                                      <p:cBhvr>
                                        <p:cTn id="72" dur="1" fill="hold">
                                          <p:stCondLst>
                                            <p:cond delay="0"/>
                                          </p:stCondLst>
                                        </p:cTn>
                                        <p:tgtEl>
                                          <p:spTgt spid="46"/>
                                        </p:tgtEl>
                                        <p:attrNameLst>
                                          <p:attrName>style.visibility</p:attrName>
                                        </p:attrNameLst>
                                      </p:cBhvr>
                                      <p:to>
                                        <p:strVal val="visible"/>
                                      </p:to>
                                    </p:set>
                                    <p:anim calcmode="lin" valueType="num">
                                      <p:cBhvr>
                                        <p:cTn id="73" dur="1000" fill="hold"/>
                                        <p:tgtEl>
                                          <p:spTgt spid="46"/>
                                        </p:tgtEl>
                                        <p:attrNameLst>
                                          <p:attrName>ppt_w</p:attrName>
                                        </p:attrNameLst>
                                      </p:cBhvr>
                                      <p:tavLst>
                                        <p:tav tm="0">
                                          <p:val>
                                            <p:fltVal val="0"/>
                                          </p:val>
                                        </p:tav>
                                        <p:tav tm="100000">
                                          <p:val>
                                            <p:strVal val="#ppt_w"/>
                                          </p:val>
                                        </p:tav>
                                      </p:tavLst>
                                    </p:anim>
                                    <p:anim calcmode="lin" valueType="num">
                                      <p:cBhvr>
                                        <p:cTn id="74" dur="1000" fill="hold"/>
                                        <p:tgtEl>
                                          <p:spTgt spid="46"/>
                                        </p:tgtEl>
                                        <p:attrNameLst>
                                          <p:attrName>ppt_h</p:attrName>
                                        </p:attrNameLst>
                                      </p:cBhvr>
                                      <p:tavLst>
                                        <p:tav tm="0">
                                          <p:val>
                                            <p:fltVal val="0"/>
                                          </p:val>
                                        </p:tav>
                                        <p:tav tm="100000">
                                          <p:val>
                                            <p:strVal val="#ppt_h"/>
                                          </p:val>
                                        </p:tav>
                                      </p:tavLst>
                                    </p:anim>
                                    <p:animEffect transition="in" filter="fade">
                                      <p:cBhvr>
                                        <p:cTn id="75" dur="1000"/>
                                        <p:tgtEl>
                                          <p:spTgt spid="46"/>
                                        </p:tgtEl>
                                      </p:cBhvr>
                                    </p:animEffect>
                                  </p:childTnLst>
                                </p:cTn>
                              </p:par>
                              <p:par>
                                <p:cTn id="76" presetID="53" presetClass="entr" presetSubtype="16" fill="hold" grpId="0" nodeType="withEffect">
                                  <p:stCondLst>
                                    <p:cond delay="0"/>
                                  </p:stCondLst>
                                  <p:childTnLst>
                                    <p:set>
                                      <p:cBhvr>
                                        <p:cTn id="77" dur="1" fill="hold">
                                          <p:stCondLst>
                                            <p:cond delay="0"/>
                                          </p:stCondLst>
                                        </p:cTn>
                                        <p:tgtEl>
                                          <p:spTgt spid="50"/>
                                        </p:tgtEl>
                                        <p:attrNameLst>
                                          <p:attrName>style.visibility</p:attrName>
                                        </p:attrNameLst>
                                      </p:cBhvr>
                                      <p:to>
                                        <p:strVal val="visible"/>
                                      </p:to>
                                    </p:set>
                                    <p:anim calcmode="lin" valueType="num">
                                      <p:cBhvr>
                                        <p:cTn id="78" dur="500" fill="hold"/>
                                        <p:tgtEl>
                                          <p:spTgt spid="50"/>
                                        </p:tgtEl>
                                        <p:attrNameLst>
                                          <p:attrName>ppt_w</p:attrName>
                                        </p:attrNameLst>
                                      </p:cBhvr>
                                      <p:tavLst>
                                        <p:tav tm="0">
                                          <p:val>
                                            <p:fltVal val="0"/>
                                          </p:val>
                                        </p:tav>
                                        <p:tav tm="100000">
                                          <p:val>
                                            <p:strVal val="#ppt_w"/>
                                          </p:val>
                                        </p:tav>
                                      </p:tavLst>
                                    </p:anim>
                                    <p:anim calcmode="lin" valueType="num">
                                      <p:cBhvr>
                                        <p:cTn id="79" dur="500" fill="hold"/>
                                        <p:tgtEl>
                                          <p:spTgt spid="50"/>
                                        </p:tgtEl>
                                        <p:attrNameLst>
                                          <p:attrName>ppt_h</p:attrName>
                                        </p:attrNameLst>
                                      </p:cBhvr>
                                      <p:tavLst>
                                        <p:tav tm="0">
                                          <p:val>
                                            <p:fltVal val="0"/>
                                          </p:val>
                                        </p:tav>
                                        <p:tav tm="100000">
                                          <p:val>
                                            <p:strVal val="#ppt_h"/>
                                          </p:val>
                                        </p:tav>
                                      </p:tavLst>
                                    </p:anim>
                                    <p:animEffect transition="in" filter="fade">
                                      <p:cBhvr>
                                        <p:cTn id="80" dur="500"/>
                                        <p:tgtEl>
                                          <p:spTgt spid="50"/>
                                        </p:tgtEl>
                                      </p:cBhvr>
                                    </p:animEffect>
                                  </p:childTnLst>
                                </p:cTn>
                              </p:par>
                            </p:childTnLst>
                          </p:cTn>
                        </p:par>
                      </p:childTnLst>
                    </p:cTn>
                  </p:par>
                  <p:par>
                    <p:cTn id="81" fill="hold">
                      <p:stCondLst>
                        <p:cond delay="indefinite"/>
                      </p:stCondLst>
                      <p:childTnLst>
                        <p:par>
                          <p:cTn id="82" fill="hold">
                            <p:stCondLst>
                              <p:cond delay="0"/>
                            </p:stCondLst>
                            <p:childTnLst>
                              <p:par>
                                <p:cTn id="83" presetID="53" presetClass="entr" presetSubtype="16" fill="hold" nodeType="clickEffect">
                                  <p:stCondLst>
                                    <p:cond delay="0"/>
                                  </p:stCondLst>
                                  <p:childTnLst>
                                    <p:set>
                                      <p:cBhvr>
                                        <p:cTn id="84" dur="1" fill="hold">
                                          <p:stCondLst>
                                            <p:cond delay="0"/>
                                          </p:stCondLst>
                                        </p:cTn>
                                        <p:tgtEl>
                                          <p:spTgt spid="10260"/>
                                        </p:tgtEl>
                                        <p:attrNameLst>
                                          <p:attrName>style.visibility</p:attrName>
                                        </p:attrNameLst>
                                      </p:cBhvr>
                                      <p:to>
                                        <p:strVal val="visible"/>
                                      </p:to>
                                    </p:set>
                                    <p:anim calcmode="lin" valueType="num">
                                      <p:cBhvr>
                                        <p:cTn id="85" dur="500" fill="hold"/>
                                        <p:tgtEl>
                                          <p:spTgt spid="10260"/>
                                        </p:tgtEl>
                                        <p:attrNameLst>
                                          <p:attrName>ppt_w</p:attrName>
                                        </p:attrNameLst>
                                      </p:cBhvr>
                                      <p:tavLst>
                                        <p:tav tm="0">
                                          <p:val>
                                            <p:fltVal val="0"/>
                                          </p:val>
                                        </p:tav>
                                        <p:tav tm="100000">
                                          <p:val>
                                            <p:strVal val="#ppt_w"/>
                                          </p:val>
                                        </p:tav>
                                      </p:tavLst>
                                    </p:anim>
                                    <p:anim calcmode="lin" valueType="num">
                                      <p:cBhvr>
                                        <p:cTn id="86" dur="500" fill="hold"/>
                                        <p:tgtEl>
                                          <p:spTgt spid="10260"/>
                                        </p:tgtEl>
                                        <p:attrNameLst>
                                          <p:attrName>ppt_h</p:attrName>
                                        </p:attrNameLst>
                                      </p:cBhvr>
                                      <p:tavLst>
                                        <p:tav tm="0">
                                          <p:val>
                                            <p:fltVal val="0"/>
                                          </p:val>
                                        </p:tav>
                                        <p:tav tm="100000">
                                          <p:val>
                                            <p:strVal val="#ppt_h"/>
                                          </p:val>
                                        </p:tav>
                                      </p:tavLst>
                                    </p:anim>
                                    <p:animEffect transition="in" filter="fade">
                                      <p:cBhvr>
                                        <p:cTn id="87" dur="500"/>
                                        <p:tgtEl>
                                          <p:spTgt spid="10260"/>
                                        </p:tgtEl>
                                      </p:cBhvr>
                                    </p:animEffect>
                                  </p:childTnLst>
                                </p:cTn>
                              </p:par>
                              <p:par>
                                <p:cTn id="88" presetID="53" presetClass="entr" presetSubtype="16" fill="hold" grpId="0" nodeType="withEffect">
                                  <p:stCondLst>
                                    <p:cond delay="0"/>
                                  </p:stCondLst>
                                  <p:childTnLst>
                                    <p:set>
                                      <p:cBhvr>
                                        <p:cTn id="89" dur="1" fill="hold">
                                          <p:stCondLst>
                                            <p:cond delay="0"/>
                                          </p:stCondLst>
                                        </p:cTn>
                                        <p:tgtEl>
                                          <p:spTgt spid="7"/>
                                        </p:tgtEl>
                                        <p:attrNameLst>
                                          <p:attrName>style.visibility</p:attrName>
                                        </p:attrNameLst>
                                      </p:cBhvr>
                                      <p:to>
                                        <p:strVal val="visible"/>
                                      </p:to>
                                    </p:set>
                                    <p:anim calcmode="lin" valueType="num">
                                      <p:cBhvr>
                                        <p:cTn id="90" dur="500" fill="hold"/>
                                        <p:tgtEl>
                                          <p:spTgt spid="7"/>
                                        </p:tgtEl>
                                        <p:attrNameLst>
                                          <p:attrName>ppt_w</p:attrName>
                                        </p:attrNameLst>
                                      </p:cBhvr>
                                      <p:tavLst>
                                        <p:tav tm="0">
                                          <p:val>
                                            <p:fltVal val="0"/>
                                          </p:val>
                                        </p:tav>
                                        <p:tav tm="100000">
                                          <p:val>
                                            <p:strVal val="#ppt_w"/>
                                          </p:val>
                                        </p:tav>
                                      </p:tavLst>
                                    </p:anim>
                                    <p:anim calcmode="lin" valueType="num">
                                      <p:cBhvr>
                                        <p:cTn id="91" dur="500" fill="hold"/>
                                        <p:tgtEl>
                                          <p:spTgt spid="7"/>
                                        </p:tgtEl>
                                        <p:attrNameLst>
                                          <p:attrName>ppt_h</p:attrName>
                                        </p:attrNameLst>
                                      </p:cBhvr>
                                      <p:tavLst>
                                        <p:tav tm="0">
                                          <p:val>
                                            <p:fltVal val="0"/>
                                          </p:val>
                                        </p:tav>
                                        <p:tav tm="100000">
                                          <p:val>
                                            <p:strVal val="#ppt_h"/>
                                          </p:val>
                                        </p:tav>
                                      </p:tavLst>
                                    </p:anim>
                                    <p:animEffect transition="in" filter="fade">
                                      <p:cBhvr>
                                        <p:cTn id="92" dur="500"/>
                                        <p:tgtEl>
                                          <p:spTgt spid="7"/>
                                        </p:tgtEl>
                                      </p:cBhvr>
                                    </p:animEffect>
                                  </p:childTnLst>
                                </p:cTn>
                              </p:par>
                            </p:childTnLst>
                          </p:cTn>
                        </p:par>
                      </p:childTnLst>
                    </p:cTn>
                  </p:par>
                  <p:par>
                    <p:cTn id="93" fill="hold">
                      <p:stCondLst>
                        <p:cond delay="indefinite"/>
                      </p:stCondLst>
                      <p:childTnLst>
                        <p:par>
                          <p:cTn id="94" fill="hold">
                            <p:stCondLst>
                              <p:cond delay="0"/>
                            </p:stCondLst>
                            <p:childTnLst>
                              <p:par>
                                <p:cTn id="95" presetID="53" presetClass="entr" presetSubtype="16" fill="hold" nodeType="clickEffect">
                                  <p:stCondLst>
                                    <p:cond delay="0"/>
                                  </p:stCondLst>
                                  <p:childTnLst>
                                    <p:set>
                                      <p:cBhvr>
                                        <p:cTn id="96" dur="1" fill="hold">
                                          <p:stCondLst>
                                            <p:cond delay="0"/>
                                          </p:stCondLst>
                                        </p:cTn>
                                        <p:tgtEl>
                                          <p:spTgt spid="25"/>
                                        </p:tgtEl>
                                        <p:attrNameLst>
                                          <p:attrName>style.visibility</p:attrName>
                                        </p:attrNameLst>
                                      </p:cBhvr>
                                      <p:to>
                                        <p:strVal val="visible"/>
                                      </p:to>
                                    </p:set>
                                    <p:anim calcmode="lin" valueType="num">
                                      <p:cBhvr>
                                        <p:cTn id="97" dur="1000" fill="hold"/>
                                        <p:tgtEl>
                                          <p:spTgt spid="25"/>
                                        </p:tgtEl>
                                        <p:attrNameLst>
                                          <p:attrName>ppt_w</p:attrName>
                                        </p:attrNameLst>
                                      </p:cBhvr>
                                      <p:tavLst>
                                        <p:tav tm="0">
                                          <p:val>
                                            <p:fltVal val="0"/>
                                          </p:val>
                                        </p:tav>
                                        <p:tav tm="100000">
                                          <p:val>
                                            <p:strVal val="#ppt_w"/>
                                          </p:val>
                                        </p:tav>
                                      </p:tavLst>
                                    </p:anim>
                                    <p:anim calcmode="lin" valueType="num">
                                      <p:cBhvr>
                                        <p:cTn id="98" dur="1000" fill="hold"/>
                                        <p:tgtEl>
                                          <p:spTgt spid="25"/>
                                        </p:tgtEl>
                                        <p:attrNameLst>
                                          <p:attrName>ppt_h</p:attrName>
                                        </p:attrNameLst>
                                      </p:cBhvr>
                                      <p:tavLst>
                                        <p:tav tm="0">
                                          <p:val>
                                            <p:fltVal val="0"/>
                                          </p:val>
                                        </p:tav>
                                        <p:tav tm="100000">
                                          <p:val>
                                            <p:strVal val="#ppt_h"/>
                                          </p:val>
                                        </p:tav>
                                      </p:tavLst>
                                    </p:anim>
                                    <p:animEffect transition="in" filter="fade">
                                      <p:cBhvr>
                                        <p:cTn id="99" dur="1000"/>
                                        <p:tgtEl>
                                          <p:spTgt spid="25"/>
                                        </p:tgtEl>
                                      </p:cBhvr>
                                    </p:animEffect>
                                  </p:childTnLst>
                                </p:cTn>
                              </p:par>
                            </p:childTnLst>
                          </p:cTn>
                        </p:par>
                      </p:childTnLst>
                    </p:cTn>
                  </p:par>
                  <p:par>
                    <p:cTn id="100" fill="hold">
                      <p:stCondLst>
                        <p:cond delay="indefinite"/>
                      </p:stCondLst>
                      <p:childTnLst>
                        <p:par>
                          <p:cTn id="101" fill="hold">
                            <p:stCondLst>
                              <p:cond delay="0"/>
                            </p:stCondLst>
                            <p:childTnLst>
                              <p:par>
                                <p:cTn id="102" presetID="53" presetClass="entr" presetSubtype="16" fill="hold" nodeType="clickEffect">
                                  <p:stCondLst>
                                    <p:cond delay="0"/>
                                  </p:stCondLst>
                                  <p:childTnLst>
                                    <p:set>
                                      <p:cBhvr>
                                        <p:cTn id="103" dur="1" fill="hold">
                                          <p:stCondLst>
                                            <p:cond delay="0"/>
                                          </p:stCondLst>
                                        </p:cTn>
                                        <p:tgtEl>
                                          <p:spTgt spid="10246"/>
                                        </p:tgtEl>
                                        <p:attrNameLst>
                                          <p:attrName>style.visibility</p:attrName>
                                        </p:attrNameLst>
                                      </p:cBhvr>
                                      <p:to>
                                        <p:strVal val="visible"/>
                                      </p:to>
                                    </p:set>
                                    <p:anim calcmode="lin" valueType="num">
                                      <p:cBhvr>
                                        <p:cTn id="104" dur="500" fill="hold"/>
                                        <p:tgtEl>
                                          <p:spTgt spid="10246"/>
                                        </p:tgtEl>
                                        <p:attrNameLst>
                                          <p:attrName>ppt_w</p:attrName>
                                        </p:attrNameLst>
                                      </p:cBhvr>
                                      <p:tavLst>
                                        <p:tav tm="0">
                                          <p:val>
                                            <p:fltVal val="0"/>
                                          </p:val>
                                        </p:tav>
                                        <p:tav tm="100000">
                                          <p:val>
                                            <p:strVal val="#ppt_w"/>
                                          </p:val>
                                        </p:tav>
                                      </p:tavLst>
                                    </p:anim>
                                    <p:anim calcmode="lin" valueType="num">
                                      <p:cBhvr>
                                        <p:cTn id="105" dur="500" fill="hold"/>
                                        <p:tgtEl>
                                          <p:spTgt spid="10246"/>
                                        </p:tgtEl>
                                        <p:attrNameLst>
                                          <p:attrName>ppt_h</p:attrName>
                                        </p:attrNameLst>
                                      </p:cBhvr>
                                      <p:tavLst>
                                        <p:tav tm="0">
                                          <p:val>
                                            <p:fltVal val="0"/>
                                          </p:val>
                                        </p:tav>
                                        <p:tav tm="100000">
                                          <p:val>
                                            <p:strVal val="#ppt_h"/>
                                          </p:val>
                                        </p:tav>
                                      </p:tavLst>
                                    </p:anim>
                                    <p:animEffect transition="in" filter="fade">
                                      <p:cBhvr>
                                        <p:cTn id="106" dur="500"/>
                                        <p:tgtEl>
                                          <p:spTgt spid="102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43" grpId="0"/>
      <p:bldP spid="50" grpId="0"/>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915"/>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7829298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smtClean="0">
                <a:effectLst>
                  <a:outerShdw blurRad="38100" dist="38100" dir="2700000" algn="tl">
                    <a:srgbClr val="000000">
                      <a:alpha val="43137"/>
                    </a:srgbClr>
                  </a:outerShdw>
                </a:effectLst>
              </a:rPr>
              <a:t>Projektziel</a:t>
            </a:r>
            <a:endParaRPr lang="de-DE" sz="2000" b="0" dirty="0">
              <a:effectLst>
                <a:outerShdw blurRad="38100" dist="38100" dir="2700000" algn="tl">
                  <a:srgbClr val="000000">
                    <a:alpha val="43137"/>
                  </a:srgbClr>
                </a:outerShdw>
              </a:effectLst>
            </a:endParaRPr>
          </a:p>
        </p:txBody>
      </p:sp>
      <p:sp>
        <p:nvSpPr>
          <p:cNvPr id="5" name="Inhaltsplatzhalter 4"/>
          <p:cNvSpPr>
            <a:spLocks noGrp="1"/>
          </p:cNvSpPr>
          <p:nvPr>
            <p:ph idx="1"/>
          </p:nvPr>
        </p:nvSpPr>
        <p:spPr/>
        <p:txBody>
          <a:bodyPr/>
          <a:lstStyle/>
          <a:p>
            <a:pPr marL="171450" indent="-171450" algn="ctr">
              <a:buFont typeface="Arial" pitchFamily="34" charset="0"/>
              <a:buChar char="•"/>
            </a:pPr>
            <a:r>
              <a:rPr lang="de-DE" u="sng" dirty="0" smtClean="0">
                <a:solidFill>
                  <a:schemeClr val="tx2"/>
                </a:solidFill>
              </a:rPr>
              <a:t>Warum ?</a:t>
            </a:r>
          </a:p>
          <a:p>
            <a:pPr marL="171450" indent="-171450" algn="ctr">
              <a:buFont typeface="Arial" pitchFamily="34" charset="0"/>
              <a:buChar char="•"/>
            </a:pPr>
            <a:r>
              <a:rPr lang="de-DE" dirty="0" smtClean="0">
                <a:solidFill>
                  <a:schemeClr val="tx2"/>
                </a:solidFill>
              </a:rPr>
              <a:t>Schnellere Lösungsfindung</a:t>
            </a:r>
          </a:p>
          <a:p>
            <a:pPr marL="171450" indent="-171450" algn="ctr">
              <a:buFont typeface="Arial" pitchFamily="34" charset="0"/>
              <a:buChar char="•"/>
            </a:pPr>
            <a:endParaRPr lang="de-DE" dirty="0" smtClean="0">
              <a:solidFill>
                <a:schemeClr val="tx2"/>
              </a:solidFill>
            </a:endParaRPr>
          </a:p>
          <a:p>
            <a:pPr marL="171450" indent="-171450" algn="ctr">
              <a:buFont typeface="Arial" pitchFamily="34" charset="0"/>
              <a:buChar char="•"/>
            </a:pPr>
            <a:r>
              <a:rPr lang="de-DE" u="sng" dirty="0" smtClean="0">
                <a:solidFill>
                  <a:schemeClr val="tx2"/>
                </a:solidFill>
              </a:rPr>
              <a:t>Was?</a:t>
            </a:r>
          </a:p>
          <a:p>
            <a:pPr marL="171450" indent="-171450" algn="ctr">
              <a:buFont typeface="Arial" pitchFamily="34" charset="0"/>
              <a:buChar char="•"/>
            </a:pPr>
            <a:r>
              <a:rPr lang="de-DE" dirty="0" smtClean="0">
                <a:solidFill>
                  <a:schemeClr val="tx2"/>
                </a:solidFill>
              </a:rPr>
              <a:t>Effizientes Support Kommunikationsmittel</a:t>
            </a:r>
          </a:p>
          <a:p>
            <a:pPr marL="171450" indent="-171450" algn="ctr">
              <a:buFont typeface="Arial" pitchFamily="34" charset="0"/>
              <a:buChar char="•"/>
            </a:pPr>
            <a:endParaRPr lang="de-DE" dirty="0" smtClean="0">
              <a:solidFill>
                <a:schemeClr val="tx2"/>
              </a:solidFill>
            </a:endParaRPr>
          </a:p>
          <a:p>
            <a:pPr marL="171450" indent="-171450" algn="ctr">
              <a:buFont typeface="Arial" pitchFamily="34" charset="0"/>
              <a:buChar char="•"/>
            </a:pPr>
            <a:r>
              <a:rPr lang="de-DE" u="sng" dirty="0" smtClean="0">
                <a:solidFill>
                  <a:schemeClr val="tx2"/>
                </a:solidFill>
              </a:rPr>
              <a:t>Wie gut?</a:t>
            </a:r>
          </a:p>
          <a:p>
            <a:pPr marL="171450" indent="-171450" algn="ctr">
              <a:buFont typeface="Arial" pitchFamily="34" charset="0"/>
              <a:buChar char="•"/>
            </a:pPr>
            <a:r>
              <a:rPr lang="de-DE" dirty="0" smtClean="0">
                <a:solidFill>
                  <a:schemeClr val="tx2"/>
                </a:solidFill>
              </a:rPr>
              <a:t>Keine externe Software</a:t>
            </a:r>
          </a:p>
          <a:p>
            <a:pPr marL="171450" indent="-171450" algn="ctr">
              <a:buFont typeface="Arial" pitchFamily="34" charset="0"/>
              <a:buChar char="•"/>
            </a:pPr>
            <a:r>
              <a:rPr lang="de-DE" dirty="0" smtClean="0">
                <a:solidFill>
                  <a:schemeClr val="tx2"/>
                </a:solidFill>
              </a:rPr>
              <a:t>Individuell anpassbar</a:t>
            </a:r>
          </a:p>
          <a:p>
            <a:pPr marL="171450" indent="-171450" algn="ctr">
              <a:buFont typeface="Arial" pitchFamily="34" charset="0"/>
              <a:buChar char="•"/>
            </a:pPr>
            <a:r>
              <a:rPr lang="de-DE" dirty="0" smtClean="0">
                <a:solidFill>
                  <a:schemeClr val="tx2"/>
                </a:solidFill>
              </a:rPr>
              <a:t>Hilfe „vor Ort“</a:t>
            </a:r>
          </a:p>
          <a:p>
            <a:pPr marL="171450" indent="-171450" algn="ctr">
              <a:buFont typeface="Arial" pitchFamily="34" charset="0"/>
              <a:buChar char="•"/>
            </a:pPr>
            <a:endParaRPr lang="de-DE" dirty="0" smtClean="0">
              <a:solidFill>
                <a:schemeClr val="tx2"/>
              </a:solidFill>
            </a:endParaRPr>
          </a:p>
          <a:p>
            <a:pPr marL="171450" indent="-171450" algn="ctr">
              <a:buFont typeface="Arial" pitchFamily="34" charset="0"/>
              <a:buChar char="•"/>
            </a:pPr>
            <a:r>
              <a:rPr lang="de-DE" u="sng" dirty="0" smtClean="0">
                <a:solidFill>
                  <a:schemeClr val="tx2"/>
                </a:solidFill>
              </a:rPr>
              <a:t>Für wen?</a:t>
            </a:r>
          </a:p>
          <a:p>
            <a:pPr marL="171450" indent="-171450" algn="ctr">
              <a:buFont typeface="Arial" pitchFamily="34" charset="0"/>
              <a:buChar char="•"/>
            </a:pPr>
            <a:r>
              <a:rPr lang="de-DE" dirty="0" smtClean="0">
                <a:solidFill>
                  <a:schemeClr val="tx2"/>
                </a:solidFill>
              </a:rPr>
              <a:t>IT als Support </a:t>
            </a:r>
          </a:p>
          <a:p>
            <a:pPr marL="171450" indent="-171450" algn="ctr">
              <a:buFont typeface="Arial" pitchFamily="34" charset="0"/>
              <a:buChar char="•"/>
            </a:pPr>
            <a:r>
              <a:rPr lang="de-DE" dirty="0" smtClean="0">
                <a:solidFill>
                  <a:schemeClr val="tx2"/>
                </a:solidFill>
              </a:rPr>
              <a:t>Fachbereich </a:t>
            </a: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rgbClr val="A9B5C7"/>
                </a:solidFill>
              </a:rPr>
              <a:t>Vorstellung</a:t>
            </a:r>
          </a:p>
          <a:p>
            <a:pPr marL="228600" indent="-228600">
              <a:buFont typeface="+mj-lt"/>
              <a:buAutoNum type="arabicPeriod"/>
            </a:pPr>
            <a:r>
              <a:rPr lang="de-DE" dirty="0">
                <a:solidFill>
                  <a:srgbClr val="A9B5C7"/>
                </a:solidFill>
              </a:rPr>
              <a:t>Thematik</a:t>
            </a:r>
            <a:endParaRPr lang="de-DE" dirty="0">
              <a:solidFill>
                <a:srgbClr val="A9B5C7"/>
              </a:solidFill>
            </a:endParaRPr>
          </a:p>
          <a:p>
            <a:pPr marL="228600" indent="-228600">
              <a:buFont typeface="+mj-lt"/>
              <a:buAutoNum type="arabicPeriod"/>
            </a:pPr>
            <a:r>
              <a:rPr lang="de-DE" dirty="0" smtClean="0">
                <a:solidFill>
                  <a:schemeClr val="tx2"/>
                </a:solidFill>
              </a:rPr>
              <a:t>Analyse</a:t>
            </a:r>
            <a:endParaRPr lang="de-DE" dirty="0" smtClean="0">
              <a:solidFill>
                <a:schemeClr val="tx2"/>
              </a:solidFill>
            </a:endParaRPr>
          </a:p>
          <a:p>
            <a:pPr marL="228600" indent="-228600">
              <a:buFont typeface="+mj-lt"/>
              <a:buAutoNum type="arabicPeriod"/>
            </a:pPr>
            <a:r>
              <a:rPr lang="de-DE" dirty="0" smtClean="0">
                <a:solidFill>
                  <a:srgbClr val="A9B5C7"/>
                </a:solidFill>
              </a:rPr>
              <a:t>Entwurf</a:t>
            </a:r>
          </a:p>
          <a:p>
            <a:pPr marL="228600" indent="-228600">
              <a:buFont typeface="+mj-lt"/>
              <a:buAutoNum type="arabicPeriod"/>
            </a:pPr>
            <a:r>
              <a:rPr lang="de-DE" dirty="0" smtClean="0">
                <a:solidFill>
                  <a:srgbClr val="A9B5C7"/>
                </a:solidFill>
              </a:rPr>
              <a:t>Implementierung</a:t>
            </a:r>
          </a:p>
          <a:p>
            <a:pPr marL="228600" indent="-228600">
              <a:buFont typeface="+mj-lt"/>
              <a:buAutoNum type="arabicPeriod"/>
            </a:pPr>
            <a:r>
              <a:rPr lang="de-DE" dirty="0" smtClean="0">
                <a:solidFill>
                  <a:srgbClr val="A9B5C7"/>
                </a:solidFill>
              </a:rPr>
              <a:t>Fazit</a:t>
            </a:r>
          </a:p>
          <a:p>
            <a:pPr marL="228600" indent="-228600">
              <a:buFont typeface="+mj-lt"/>
              <a:buAutoNum type="arabicPeriod"/>
            </a:pPr>
            <a:r>
              <a:rPr lang="de-DE" dirty="0">
                <a:solidFill>
                  <a:srgbClr val="A9B5C7"/>
                </a:solidFill>
              </a:rPr>
              <a:t>Live Demo (evtl</a:t>
            </a:r>
            <a:r>
              <a:rPr lang="de-DE" dirty="0" smtClean="0">
                <a:solidFill>
                  <a:srgbClr val="A9B5C7"/>
                </a:solidFill>
              </a:rPr>
              <a:t>.)</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6</a:t>
            </a:fld>
            <a:endParaRPr lang="de-DE" noProof="0" dirty="0"/>
          </a:p>
        </p:txBody>
      </p:sp>
      <p:pic>
        <p:nvPicPr>
          <p:cNvPr id="13318" name="Picture 6" descr="U:\Projektarbeit\Präsentation\img\projektziel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80631" y="1944539"/>
            <a:ext cx="1911851" cy="2482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6576452"/>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3" end="3"/>
                                            </p:txEl>
                                          </p:spTgt>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 calcmode="lin" valueType="num">
                                      <p:cBhvr>
                                        <p:cTn id="11" dur="500" fill="hold"/>
                                        <p:tgtEl>
                                          <p:spTgt spid="5">
                                            <p:txEl>
                                              <p:pRg st="0" end="0"/>
                                            </p:txEl>
                                          </p:spTgt>
                                        </p:tgtEl>
                                        <p:attrNameLst>
                                          <p:attrName>ppt_w</p:attrName>
                                        </p:attrNameLst>
                                      </p:cBhvr>
                                      <p:tavLst>
                                        <p:tav tm="0">
                                          <p:val>
                                            <p:fltVal val="0"/>
                                          </p:val>
                                        </p:tav>
                                        <p:tav tm="100000">
                                          <p:val>
                                            <p:strVal val="#ppt_w"/>
                                          </p:val>
                                        </p:tav>
                                      </p:tavLst>
                                    </p:anim>
                                    <p:anim calcmode="lin" valueType="num">
                                      <p:cBhvr>
                                        <p:cTn id="12" dur="500" fill="hold"/>
                                        <p:tgtEl>
                                          <p:spTgt spid="5">
                                            <p:txEl>
                                              <p:pRg st="0" end="0"/>
                                            </p:txEl>
                                          </p:spTgt>
                                        </p:tgtEl>
                                        <p:attrNameLst>
                                          <p:attrName>ppt_h</p:attrName>
                                        </p:attrNameLst>
                                      </p:cBhvr>
                                      <p:tavLst>
                                        <p:tav tm="0">
                                          <p:val>
                                            <p:fltVal val="0"/>
                                          </p:val>
                                        </p:tav>
                                        <p:tav tm="100000">
                                          <p:val>
                                            <p:strVal val="#ppt_h"/>
                                          </p:val>
                                        </p:tav>
                                      </p:tavLst>
                                    </p:anim>
                                    <p:animEffect transition="in" filter="fade">
                                      <p:cBhvr>
                                        <p:cTn id="13" dur="500"/>
                                        <p:tgtEl>
                                          <p:spTgt spid="5">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5">
                                            <p:txEl>
                                              <p:pRg st="1" end="1"/>
                                            </p:txEl>
                                          </p:spTgt>
                                        </p:tgtEl>
                                        <p:attrNameLst>
                                          <p:attrName>style.visibility</p:attrName>
                                        </p:attrNameLst>
                                      </p:cBhvr>
                                      <p:to>
                                        <p:strVal val="visible"/>
                                      </p:to>
                                    </p:set>
                                    <p:anim calcmode="lin" valueType="num">
                                      <p:cBhvr>
                                        <p:cTn id="18" dur="5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9" dur="500" fill="hold"/>
                                        <p:tgtEl>
                                          <p:spTgt spid="5">
                                            <p:txEl>
                                              <p:pRg st="1" end="1"/>
                                            </p:txEl>
                                          </p:spTgt>
                                        </p:tgtEl>
                                        <p:attrNameLst>
                                          <p:attrName>ppt_h</p:attrName>
                                        </p:attrNameLst>
                                      </p:cBhvr>
                                      <p:tavLst>
                                        <p:tav tm="0">
                                          <p:val>
                                            <p:fltVal val="0"/>
                                          </p:val>
                                        </p:tav>
                                        <p:tav tm="100000">
                                          <p:val>
                                            <p:strVal val="#ppt_h"/>
                                          </p:val>
                                        </p:tav>
                                      </p:tavLst>
                                    </p:anim>
                                    <p:animEffect transition="in" filter="fade">
                                      <p:cBhvr>
                                        <p:cTn id="20" dur="500"/>
                                        <p:tgtEl>
                                          <p:spTgt spid="5">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nodeType="click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anim calcmode="lin" valueType="num">
                                      <p:cBhvr>
                                        <p:cTn id="25" dur="5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6" dur="500" fill="hold"/>
                                        <p:tgtEl>
                                          <p:spTgt spid="5">
                                            <p:txEl>
                                              <p:pRg st="3" end="3"/>
                                            </p:txEl>
                                          </p:spTgt>
                                        </p:tgtEl>
                                        <p:attrNameLst>
                                          <p:attrName>ppt_h</p:attrName>
                                        </p:attrNameLst>
                                      </p:cBhvr>
                                      <p:tavLst>
                                        <p:tav tm="0">
                                          <p:val>
                                            <p:fltVal val="0"/>
                                          </p:val>
                                        </p:tav>
                                        <p:tav tm="100000">
                                          <p:val>
                                            <p:strVal val="#ppt_h"/>
                                          </p:val>
                                        </p:tav>
                                      </p:tavLst>
                                    </p:anim>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 calcmode="lin" valueType="num">
                                      <p:cBhvr>
                                        <p:cTn id="32" dur="500" fill="hold"/>
                                        <p:tgtEl>
                                          <p:spTgt spid="5">
                                            <p:txEl>
                                              <p:pRg st="4" end="4"/>
                                            </p:txEl>
                                          </p:spTgt>
                                        </p:tgtEl>
                                        <p:attrNameLst>
                                          <p:attrName>ppt_w</p:attrName>
                                        </p:attrNameLst>
                                      </p:cBhvr>
                                      <p:tavLst>
                                        <p:tav tm="0">
                                          <p:val>
                                            <p:fltVal val="0"/>
                                          </p:val>
                                        </p:tav>
                                        <p:tav tm="100000">
                                          <p:val>
                                            <p:strVal val="#ppt_w"/>
                                          </p:val>
                                        </p:tav>
                                      </p:tavLst>
                                    </p:anim>
                                    <p:anim calcmode="lin" valueType="num">
                                      <p:cBhvr>
                                        <p:cTn id="33" dur="500" fill="hold"/>
                                        <p:tgtEl>
                                          <p:spTgt spid="5">
                                            <p:txEl>
                                              <p:pRg st="4" end="4"/>
                                            </p:txEl>
                                          </p:spTgt>
                                        </p:tgtEl>
                                        <p:attrNameLst>
                                          <p:attrName>ppt_h</p:attrName>
                                        </p:attrNameLst>
                                      </p:cBhvr>
                                      <p:tavLst>
                                        <p:tav tm="0">
                                          <p:val>
                                            <p:fltVal val="0"/>
                                          </p:val>
                                        </p:tav>
                                        <p:tav tm="100000">
                                          <p:val>
                                            <p:strVal val="#ppt_h"/>
                                          </p:val>
                                        </p:tav>
                                      </p:tavLst>
                                    </p:anim>
                                    <p:animEffect transition="in" filter="fade">
                                      <p:cBhvr>
                                        <p:cTn id="34" dur="500"/>
                                        <p:tgtEl>
                                          <p:spTgt spid="5">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53" presetClass="entr" presetSubtype="16" fill="hold" nodeType="clickEffect">
                                  <p:stCondLst>
                                    <p:cond delay="0"/>
                                  </p:stCondLst>
                                  <p:childTnLst>
                                    <p:set>
                                      <p:cBhvr>
                                        <p:cTn id="38" dur="1" fill="hold">
                                          <p:stCondLst>
                                            <p:cond delay="0"/>
                                          </p:stCondLst>
                                        </p:cTn>
                                        <p:tgtEl>
                                          <p:spTgt spid="5">
                                            <p:txEl>
                                              <p:pRg st="6" end="6"/>
                                            </p:txEl>
                                          </p:spTgt>
                                        </p:tgtEl>
                                        <p:attrNameLst>
                                          <p:attrName>style.visibility</p:attrName>
                                        </p:attrNameLst>
                                      </p:cBhvr>
                                      <p:to>
                                        <p:strVal val="visible"/>
                                      </p:to>
                                    </p:set>
                                    <p:anim calcmode="lin" valueType="num">
                                      <p:cBhvr>
                                        <p:cTn id="39" dur="500" fill="hold"/>
                                        <p:tgtEl>
                                          <p:spTgt spid="5">
                                            <p:txEl>
                                              <p:pRg st="6" end="6"/>
                                            </p:txEl>
                                          </p:spTgt>
                                        </p:tgtEl>
                                        <p:attrNameLst>
                                          <p:attrName>ppt_w</p:attrName>
                                        </p:attrNameLst>
                                      </p:cBhvr>
                                      <p:tavLst>
                                        <p:tav tm="0">
                                          <p:val>
                                            <p:fltVal val="0"/>
                                          </p:val>
                                        </p:tav>
                                        <p:tav tm="100000">
                                          <p:val>
                                            <p:strVal val="#ppt_w"/>
                                          </p:val>
                                        </p:tav>
                                      </p:tavLst>
                                    </p:anim>
                                    <p:anim calcmode="lin" valueType="num">
                                      <p:cBhvr>
                                        <p:cTn id="40" dur="500" fill="hold"/>
                                        <p:tgtEl>
                                          <p:spTgt spid="5">
                                            <p:txEl>
                                              <p:pRg st="6" end="6"/>
                                            </p:txEl>
                                          </p:spTgt>
                                        </p:tgtEl>
                                        <p:attrNameLst>
                                          <p:attrName>ppt_h</p:attrName>
                                        </p:attrNameLst>
                                      </p:cBhvr>
                                      <p:tavLst>
                                        <p:tav tm="0">
                                          <p:val>
                                            <p:fltVal val="0"/>
                                          </p:val>
                                        </p:tav>
                                        <p:tav tm="100000">
                                          <p:val>
                                            <p:strVal val="#ppt_h"/>
                                          </p:val>
                                        </p:tav>
                                      </p:tavLst>
                                    </p:anim>
                                    <p:animEffect transition="in" filter="fade">
                                      <p:cBhvr>
                                        <p:cTn id="41" dur="500"/>
                                        <p:tgtEl>
                                          <p:spTgt spid="5">
                                            <p:txEl>
                                              <p:pRg st="6" end="6"/>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5">
                                            <p:txEl>
                                              <p:pRg st="7" end="7"/>
                                            </p:txEl>
                                          </p:spTgt>
                                        </p:tgtEl>
                                        <p:attrNameLst>
                                          <p:attrName>style.visibility</p:attrName>
                                        </p:attrNameLst>
                                      </p:cBhvr>
                                      <p:to>
                                        <p:strVal val="visible"/>
                                      </p:to>
                                    </p:set>
                                    <p:anim calcmode="lin" valueType="num">
                                      <p:cBhvr>
                                        <p:cTn id="46" dur="500" fill="hold"/>
                                        <p:tgtEl>
                                          <p:spTgt spid="5">
                                            <p:txEl>
                                              <p:pRg st="7" end="7"/>
                                            </p:txEl>
                                          </p:spTgt>
                                        </p:tgtEl>
                                        <p:attrNameLst>
                                          <p:attrName>ppt_w</p:attrName>
                                        </p:attrNameLst>
                                      </p:cBhvr>
                                      <p:tavLst>
                                        <p:tav tm="0">
                                          <p:val>
                                            <p:fltVal val="0"/>
                                          </p:val>
                                        </p:tav>
                                        <p:tav tm="100000">
                                          <p:val>
                                            <p:strVal val="#ppt_w"/>
                                          </p:val>
                                        </p:tav>
                                      </p:tavLst>
                                    </p:anim>
                                    <p:anim calcmode="lin" valueType="num">
                                      <p:cBhvr>
                                        <p:cTn id="47" dur="500" fill="hold"/>
                                        <p:tgtEl>
                                          <p:spTgt spid="5">
                                            <p:txEl>
                                              <p:pRg st="7" end="7"/>
                                            </p:txEl>
                                          </p:spTgt>
                                        </p:tgtEl>
                                        <p:attrNameLst>
                                          <p:attrName>ppt_h</p:attrName>
                                        </p:attrNameLst>
                                      </p:cBhvr>
                                      <p:tavLst>
                                        <p:tav tm="0">
                                          <p:val>
                                            <p:fltVal val="0"/>
                                          </p:val>
                                        </p:tav>
                                        <p:tav tm="100000">
                                          <p:val>
                                            <p:strVal val="#ppt_h"/>
                                          </p:val>
                                        </p:tav>
                                      </p:tavLst>
                                    </p:anim>
                                    <p:animEffect transition="in" filter="fade">
                                      <p:cBhvr>
                                        <p:cTn id="48" dur="500"/>
                                        <p:tgtEl>
                                          <p:spTgt spid="5">
                                            <p:txEl>
                                              <p:pRg st="7" end="7"/>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53" presetClass="entr" presetSubtype="16" fill="hold" nodeType="clickEffect">
                                  <p:stCondLst>
                                    <p:cond delay="0"/>
                                  </p:stCondLst>
                                  <p:childTnLst>
                                    <p:set>
                                      <p:cBhvr>
                                        <p:cTn id="52" dur="1" fill="hold">
                                          <p:stCondLst>
                                            <p:cond delay="0"/>
                                          </p:stCondLst>
                                        </p:cTn>
                                        <p:tgtEl>
                                          <p:spTgt spid="5">
                                            <p:txEl>
                                              <p:pRg st="8" end="8"/>
                                            </p:txEl>
                                          </p:spTgt>
                                        </p:tgtEl>
                                        <p:attrNameLst>
                                          <p:attrName>style.visibility</p:attrName>
                                        </p:attrNameLst>
                                      </p:cBhvr>
                                      <p:to>
                                        <p:strVal val="visible"/>
                                      </p:to>
                                    </p:set>
                                    <p:anim calcmode="lin" valueType="num">
                                      <p:cBhvr>
                                        <p:cTn id="53" dur="500" fill="hold"/>
                                        <p:tgtEl>
                                          <p:spTgt spid="5">
                                            <p:txEl>
                                              <p:pRg st="8" end="8"/>
                                            </p:txEl>
                                          </p:spTgt>
                                        </p:tgtEl>
                                        <p:attrNameLst>
                                          <p:attrName>ppt_w</p:attrName>
                                        </p:attrNameLst>
                                      </p:cBhvr>
                                      <p:tavLst>
                                        <p:tav tm="0">
                                          <p:val>
                                            <p:fltVal val="0"/>
                                          </p:val>
                                        </p:tav>
                                        <p:tav tm="100000">
                                          <p:val>
                                            <p:strVal val="#ppt_w"/>
                                          </p:val>
                                        </p:tav>
                                      </p:tavLst>
                                    </p:anim>
                                    <p:anim calcmode="lin" valueType="num">
                                      <p:cBhvr>
                                        <p:cTn id="54" dur="500" fill="hold"/>
                                        <p:tgtEl>
                                          <p:spTgt spid="5">
                                            <p:txEl>
                                              <p:pRg st="8" end="8"/>
                                            </p:txEl>
                                          </p:spTgt>
                                        </p:tgtEl>
                                        <p:attrNameLst>
                                          <p:attrName>ppt_h</p:attrName>
                                        </p:attrNameLst>
                                      </p:cBhvr>
                                      <p:tavLst>
                                        <p:tav tm="0">
                                          <p:val>
                                            <p:fltVal val="0"/>
                                          </p:val>
                                        </p:tav>
                                        <p:tav tm="100000">
                                          <p:val>
                                            <p:strVal val="#ppt_h"/>
                                          </p:val>
                                        </p:tav>
                                      </p:tavLst>
                                    </p:anim>
                                    <p:animEffect transition="in" filter="fade">
                                      <p:cBhvr>
                                        <p:cTn id="55" dur="500"/>
                                        <p:tgtEl>
                                          <p:spTgt spid="5">
                                            <p:txEl>
                                              <p:pRg st="8" end="8"/>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53" presetClass="entr" presetSubtype="16" fill="hold" nodeType="clickEffect">
                                  <p:stCondLst>
                                    <p:cond delay="0"/>
                                  </p:stCondLst>
                                  <p:childTnLst>
                                    <p:set>
                                      <p:cBhvr>
                                        <p:cTn id="59" dur="1" fill="hold">
                                          <p:stCondLst>
                                            <p:cond delay="0"/>
                                          </p:stCondLst>
                                        </p:cTn>
                                        <p:tgtEl>
                                          <p:spTgt spid="5">
                                            <p:txEl>
                                              <p:pRg st="9" end="9"/>
                                            </p:txEl>
                                          </p:spTgt>
                                        </p:tgtEl>
                                        <p:attrNameLst>
                                          <p:attrName>style.visibility</p:attrName>
                                        </p:attrNameLst>
                                      </p:cBhvr>
                                      <p:to>
                                        <p:strVal val="visible"/>
                                      </p:to>
                                    </p:set>
                                    <p:anim calcmode="lin" valueType="num">
                                      <p:cBhvr>
                                        <p:cTn id="60" dur="500" fill="hold"/>
                                        <p:tgtEl>
                                          <p:spTgt spid="5">
                                            <p:txEl>
                                              <p:pRg st="9" end="9"/>
                                            </p:txEl>
                                          </p:spTgt>
                                        </p:tgtEl>
                                        <p:attrNameLst>
                                          <p:attrName>ppt_w</p:attrName>
                                        </p:attrNameLst>
                                      </p:cBhvr>
                                      <p:tavLst>
                                        <p:tav tm="0">
                                          <p:val>
                                            <p:fltVal val="0"/>
                                          </p:val>
                                        </p:tav>
                                        <p:tav tm="100000">
                                          <p:val>
                                            <p:strVal val="#ppt_w"/>
                                          </p:val>
                                        </p:tav>
                                      </p:tavLst>
                                    </p:anim>
                                    <p:anim calcmode="lin" valueType="num">
                                      <p:cBhvr>
                                        <p:cTn id="61" dur="500" fill="hold"/>
                                        <p:tgtEl>
                                          <p:spTgt spid="5">
                                            <p:txEl>
                                              <p:pRg st="9" end="9"/>
                                            </p:txEl>
                                          </p:spTgt>
                                        </p:tgtEl>
                                        <p:attrNameLst>
                                          <p:attrName>ppt_h</p:attrName>
                                        </p:attrNameLst>
                                      </p:cBhvr>
                                      <p:tavLst>
                                        <p:tav tm="0">
                                          <p:val>
                                            <p:fltVal val="0"/>
                                          </p:val>
                                        </p:tav>
                                        <p:tav tm="100000">
                                          <p:val>
                                            <p:strVal val="#ppt_h"/>
                                          </p:val>
                                        </p:tav>
                                      </p:tavLst>
                                    </p:anim>
                                    <p:animEffect transition="in" filter="fade">
                                      <p:cBhvr>
                                        <p:cTn id="62" dur="500"/>
                                        <p:tgtEl>
                                          <p:spTgt spid="5">
                                            <p:txEl>
                                              <p:pRg st="9" end="9"/>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53" presetClass="entr" presetSubtype="16" fill="hold" nodeType="clickEffect">
                                  <p:stCondLst>
                                    <p:cond delay="0"/>
                                  </p:stCondLst>
                                  <p:childTnLst>
                                    <p:set>
                                      <p:cBhvr>
                                        <p:cTn id="66" dur="1" fill="hold">
                                          <p:stCondLst>
                                            <p:cond delay="0"/>
                                          </p:stCondLst>
                                        </p:cTn>
                                        <p:tgtEl>
                                          <p:spTgt spid="5">
                                            <p:txEl>
                                              <p:pRg st="11" end="11"/>
                                            </p:txEl>
                                          </p:spTgt>
                                        </p:tgtEl>
                                        <p:attrNameLst>
                                          <p:attrName>style.visibility</p:attrName>
                                        </p:attrNameLst>
                                      </p:cBhvr>
                                      <p:to>
                                        <p:strVal val="visible"/>
                                      </p:to>
                                    </p:set>
                                    <p:anim calcmode="lin" valueType="num">
                                      <p:cBhvr>
                                        <p:cTn id="67" dur="500" fill="hold"/>
                                        <p:tgtEl>
                                          <p:spTgt spid="5">
                                            <p:txEl>
                                              <p:pRg st="11" end="11"/>
                                            </p:txEl>
                                          </p:spTgt>
                                        </p:tgtEl>
                                        <p:attrNameLst>
                                          <p:attrName>ppt_w</p:attrName>
                                        </p:attrNameLst>
                                      </p:cBhvr>
                                      <p:tavLst>
                                        <p:tav tm="0">
                                          <p:val>
                                            <p:fltVal val="0"/>
                                          </p:val>
                                        </p:tav>
                                        <p:tav tm="100000">
                                          <p:val>
                                            <p:strVal val="#ppt_w"/>
                                          </p:val>
                                        </p:tav>
                                      </p:tavLst>
                                    </p:anim>
                                    <p:anim calcmode="lin" valueType="num">
                                      <p:cBhvr>
                                        <p:cTn id="68" dur="500" fill="hold"/>
                                        <p:tgtEl>
                                          <p:spTgt spid="5">
                                            <p:txEl>
                                              <p:pRg st="11" end="11"/>
                                            </p:txEl>
                                          </p:spTgt>
                                        </p:tgtEl>
                                        <p:attrNameLst>
                                          <p:attrName>ppt_h</p:attrName>
                                        </p:attrNameLst>
                                      </p:cBhvr>
                                      <p:tavLst>
                                        <p:tav tm="0">
                                          <p:val>
                                            <p:fltVal val="0"/>
                                          </p:val>
                                        </p:tav>
                                        <p:tav tm="100000">
                                          <p:val>
                                            <p:strVal val="#ppt_h"/>
                                          </p:val>
                                        </p:tav>
                                      </p:tavLst>
                                    </p:anim>
                                    <p:animEffect transition="in" filter="fade">
                                      <p:cBhvr>
                                        <p:cTn id="69" dur="500"/>
                                        <p:tgtEl>
                                          <p:spTgt spid="5">
                                            <p:txEl>
                                              <p:pRg st="11" end="11"/>
                                            </p:txEl>
                                          </p:spTgt>
                                        </p:tgtEl>
                                      </p:cBhvr>
                                    </p:animEffect>
                                  </p:childTnLst>
                                </p:cTn>
                              </p:par>
                            </p:childTnLst>
                          </p:cTn>
                        </p:par>
                      </p:childTnLst>
                    </p:cTn>
                  </p:par>
                  <p:par>
                    <p:cTn id="70" fill="hold">
                      <p:stCondLst>
                        <p:cond delay="indefinite"/>
                      </p:stCondLst>
                      <p:childTnLst>
                        <p:par>
                          <p:cTn id="71" fill="hold">
                            <p:stCondLst>
                              <p:cond delay="0"/>
                            </p:stCondLst>
                            <p:childTnLst>
                              <p:par>
                                <p:cTn id="72" presetID="53" presetClass="entr" presetSubtype="16" fill="hold" nodeType="clickEffect">
                                  <p:stCondLst>
                                    <p:cond delay="0"/>
                                  </p:stCondLst>
                                  <p:childTnLst>
                                    <p:set>
                                      <p:cBhvr>
                                        <p:cTn id="73" dur="1" fill="hold">
                                          <p:stCondLst>
                                            <p:cond delay="0"/>
                                          </p:stCondLst>
                                        </p:cTn>
                                        <p:tgtEl>
                                          <p:spTgt spid="5">
                                            <p:txEl>
                                              <p:pRg st="12" end="12"/>
                                            </p:txEl>
                                          </p:spTgt>
                                        </p:tgtEl>
                                        <p:attrNameLst>
                                          <p:attrName>style.visibility</p:attrName>
                                        </p:attrNameLst>
                                      </p:cBhvr>
                                      <p:to>
                                        <p:strVal val="visible"/>
                                      </p:to>
                                    </p:set>
                                    <p:anim calcmode="lin" valueType="num">
                                      <p:cBhvr>
                                        <p:cTn id="74" dur="500" fill="hold"/>
                                        <p:tgtEl>
                                          <p:spTgt spid="5">
                                            <p:txEl>
                                              <p:pRg st="12" end="12"/>
                                            </p:txEl>
                                          </p:spTgt>
                                        </p:tgtEl>
                                        <p:attrNameLst>
                                          <p:attrName>ppt_w</p:attrName>
                                        </p:attrNameLst>
                                      </p:cBhvr>
                                      <p:tavLst>
                                        <p:tav tm="0">
                                          <p:val>
                                            <p:fltVal val="0"/>
                                          </p:val>
                                        </p:tav>
                                        <p:tav tm="100000">
                                          <p:val>
                                            <p:strVal val="#ppt_w"/>
                                          </p:val>
                                        </p:tav>
                                      </p:tavLst>
                                    </p:anim>
                                    <p:anim calcmode="lin" valueType="num">
                                      <p:cBhvr>
                                        <p:cTn id="75" dur="500" fill="hold"/>
                                        <p:tgtEl>
                                          <p:spTgt spid="5">
                                            <p:txEl>
                                              <p:pRg st="12" end="12"/>
                                            </p:txEl>
                                          </p:spTgt>
                                        </p:tgtEl>
                                        <p:attrNameLst>
                                          <p:attrName>ppt_h</p:attrName>
                                        </p:attrNameLst>
                                      </p:cBhvr>
                                      <p:tavLst>
                                        <p:tav tm="0">
                                          <p:val>
                                            <p:fltVal val="0"/>
                                          </p:val>
                                        </p:tav>
                                        <p:tav tm="100000">
                                          <p:val>
                                            <p:strVal val="#ppt_h"/>
                                          </p:val>
                                        </p:tav>
                                      </p:tavLst>
                                    </p:anim>
                                    <p:animEffect transition="in" filter="fade">
                                      <p:cBhvr>
                                        <p:cTn id="76" dur="500"/>
                                        <p:tgtEl>
                                          <p:spTgt spid="5">
                                            <p:txEl>
                                              <p:pRg st="12" end="12"/>
                                            </p:txEl>
                                          </p:spTgt>
                                        </p:tgtEl>
                                      </p:cBhvr>
                                    </p:animEffect>
                                  </p:childTnLst>
                                </p:cTn>
                              </p:par>
                            </p:childTnLst>
                          </p:cTn>
                        </p:par>
                      </p:childTnLst>
                    </p:cTn>
                  </p:par>
                  <p:par>
                    <p:cTn id="77" fill="hold">
                      <p:stCondLst>
                        <p:cond delay="indefinite"/>
                      </p:stCondLst>
                      <p:childTnLst>
                        <p:par>
                          <p:cTn id="78" fill="hold">
                            <p:stCondLst>
                              <p:cond delay="0"/>
                            </p:stCondLst>
                            <p:childTnLst>
                              <p:par>
                                <p:cTn id="79" presetID="53" presetClass="entr" presetSubtype="16" fill="hold" nodeType="clickEffect">
                                  <p:stCondLst>
                                    <p:cond delay="0"/>
                                  </p:stCondLst>
                                  <p:childTnLst>
                                    <p:set>
                                      <p:cBhvr>
                                        <p:cTn id="80" dur="1" fill="hold">
                                          <p:stCondLst>
                                            <p:cond delay="0"/>
                                          </p:stCondLst>
                                        </p:cTn>
                                        <p:tgtEl>
                                          <p:spTgt spid="5">
                                            <p:txEl>
                                              <p:pRg st="13" end="13"/>
                                            </p:txEl>
                                          </p:spTgt>
                                        </p:tgtEl>
                                        <p:attrNameLst>
                                          <p:attrName>style.visibility</p:attrName>
                                        </p:attrNameLst>
                                      </p:cBhvr>
                                      <p:to>
                                        <p:strVal val="visible"/>
                                      </p:to>
                                    </p:set>
                                    <p:anim calcmode="lin" valueType="num">
                                      <p:cBhvr>
                                        <p:cTn id="81" dur="500" fill="hold"/>
                                        <p:tgtEl>
                                          <p:spTgt spid="5">
                                            <p:txEl>
                                              <p:pRg st="13" end="13"/>
                                            </p:txEl>
                                          </p:spTgt>
                                        </p:tgtEl>
                                        <p:attrNameLst>
                                          <p:attrName>ppt_w</p:attrName>
                                        </p:attrNameLst>
                                      </p:cBhvr>
                                      <p:tavLst>
                                        <p:tav tm="0">
                                          <p:val>
                                            <p:fltVal val="0"/>
                                          </p:val>
                                        </p:tav>
                                        <p:tav tm="100000">
                                          <p:val>
                                            <p:strVal val="#ppt_w"/>
                                          </p:val>
                                        </p:tav>
                                      </p:tavLst>
                                    </p:anim>
                                    <p:anim calcmode="lin" valueType="num">
                                      <p:cBhvr>
                                        <p:cTn id="82" dur="500" fill="hold"/>
                                        <p:tgtEl>
                                          <p:spTgt spid="5">
                                            <p:txEl>
                                              <p:pRg st="13" end="13"/>
                                            </p:txEl>
                                          </p:spTgt>
                                        </p:tgtEl>
                                        <p:attrNameLst>
                                          <p:attrName>ppt_h</p:attrName>
                                        </p:attrNameLst>
                                      </p:cBhvr>
                                      <p:tavLst>
                                        <p:tav tm="0">
                                          <p:val>
                                            <p:fltVal val="0"/>
                                          </p:val>
                                        </p:tav>
                                        <p:tav tm="100000">
                                          <p:val>
                                            <p:strVal val="#ppt_h"/>
                                          </p:val>
                                        </p:tav>
                                      </p:tavLst>
                                    </p:anim>
                                    <p:animEffect transition="in" filter="fade">
                                      <p:cBhvr>
                                        <p:cTn id="83" dur="500"/>
                                        <p:tgtEl>
                                          <p:spTgt spid="5">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915"/>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4160853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err="1" smtClean="0">
                <a:effectLst>
                  <a:outerShdw blurRad="38100" dist="38100" dir="2700000" algn="tl">
                    <a:srgbClr val="000000">
                      <a:alpha val="43137"/>
                    </a:srgbClr>
                  </a:outerShdw>
                </a:effectLst>
              </a:rPr>
              <a:t>Use</a:t>
            </a:r>
            <a:r>
              <a:rPr lang="de-DE" sz="2000" b="0" dirty="0" smtClean="0">
                <a:effectLst>
                  <a:outerShdw blurRad="38100" dist="38100" dir="2700000" algn="tl">
                    <a:srgbClr val="000000">
                      <a:alpha val="43137"/>
                    </a:srgbClr>
                  </a:outerShdw>
                </a:effectLst>
              </a:rPr>
              <a:t> Case</a:t>
            </a:r>
            <a:endParaRPr lang="de-DE" sz="2000" b="0" dirty="0">
              <a:effectLst>
                <a:outerShdw blurRad="38100" dist="38100" dir="2700000" algn="tl">
                  <a:srgbClr val="000000">
                    <a:alpha val="43137"/>
                  </a:srgbClr>
                </a:outerShdw>
              </a:effectLst>
            </a:endParaRP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rgbClr val="A9B5C7"/>
                </a:solidFill>
              </a:rPr>
              <a:t>Vorstellung</a:t>
            </a:r>
          </a:p>
          <a:p>
            <a:pPr marL="228600" indent="-228600">
              <a:buFont typeface="+mj-lt"/>
              <a:buAutoNum type="arabicPeriod"/>
            </a:pPr>
            <a:r>
              <a:rPr lang="de-DE" dirty="0">
                <a:solidFill>
                  <a:srgbClr val="A9B5C7"/>
                </a:solidFill>
              </a:rPr>
              <a:t>Thematik</a:t>
            </a:r>
            <a:endParaRPr lang="de-DE" dirty="0">
              <a:solidFill>
                <a:srgbClr val="A9B5C7"/>
              </a:solidFill>
            </a:endParaRPr>
          </a:p>
          <a:p>
            <a:pPr marL="228600" indent="-228600">
              <a:buFont typeface="+mj-lt"/>
              <a:buAutoNum type="arabicPeriod"/>
            </a:pPr>
            <a:r>
              <a:rPr lang="de-DE" dirty="0" smtClean="0">
                <a:solidFill>
                  <a:schemeClr val="tx2"/>
                </a:solidFill>
              </a:rPr>
              <a:t>Analyse</a:t>
            </a:r>
            <a:endParaRPr lang="de-DE" dirty="0" smtClean="0">
              <a:solidFill>
                <a:schemeClr val="tx2"/>
              </a:solidFill>
            </a:endParaRPr>
          </a:p>
          <a:p>
            <a:pPr marL="228600" indent="-228600">
              <a:buFont typeface="+mj-lt"/>
              <a:buAutoNum type="arabicPeriod"/>
            </a:pPr>
            <a:r>
              <a:rPr lang="de-DE" dirty="0" smtClean="0">
                <a:solidFill>
                  <a:srgbClr val="A9B5C7"/>
                </a:solidFill>
              </a:rPr>
              <a:t>Entwurf</a:t>
            </a:r>
          </a:p>
          <a:p>
            <a:pPr marL="228600" indent="-228600">
              <a:buFont typeface="+mj-lt"/>
              <a:buAutoNum type="arabicPeriod"/>
            </a:pPr>
            <a:r>
              <a:rPr lang="de-DE" dirty="0" smtClean="0">
                <a:solidFill>
                  <a:srgbClr val="A9B5C7"/>
                </a:solidFill>
              </a:rPr>
              <a:t>Implementierung</a:t>
            </a:r>
          </a:p>
          <a:p>
            <a:pPr marL="228600" indent="-228600">
              <a:buFont typeface="+mj-lt"/>
              <a:buAutoNum type="arabicPeriod"/>
            </a:pPr>
            <a:r>
              <a:rPr lang="de-DE" dirty="0" smtClean="0">
                <a:solidFill>
                  <a:srgbClr val="A9B5C7"/>
                </a:solidFill>
              </a:rPr>
              <a:t>Fazit</a:t>
            </a:r>
          </a:p>
          <a:p>
            <a:pPr marL="228600" indent="-228600">
              <a:buFont typeface="+mj-lt"/>
              <a:buAutoNum type="arabicPeriod"/>
            </a:pPr>
            <a:r>
              <a:rPr lang="de-DE" dirty="0">
                <a:solidFill>
                  <a:srgbClr val="A9B5C7"/>
                </a:solidFill>
              </a:rPr>
              <a:t>Live Demo (evtl</a:t>
            </a:r>
            <a:r>
              <a:rPr lang="de-DE" dirty="0" smtClean="0">
                <a:solidFill>
                  <a:srgbClr val="A9B5C7"/>
                </a:solidFill>
              </a:rPr>
              <a:t>.)</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7</a:t>
            </a:fld>
            <a:endParaRPr lang="de-DE" noProof="0" dirty="0"/>
          </a:p>
        </p:txBody>
      </p:sp>
      <p:sp>
        <p:nvSpPr>
          <p:cNvPr id="7" name="Inhaltsplatzhalter 6"/>
          <p:cNvSpPr>
            <a:spLocks noGrp="1"/>
          </p:cNvSpPr>
          <p:nvPr>
            <p:ph idx="1"/>
          </p:nvPr>
        </p:nvSpPr>
        <p:spPr/>
        <p:txBody>
          <a:bodyPr/>
          <a:lstStyle/>
          <a:p>
            <a:endParaRPr lang="de-DE" dirty="0"/>
          </a:p>
        </p:txBody>
      </p:sp>
      <p:pic>
        <p:nvPicPr>
          <p:cNvPr id="14359" name="Picture 23" descr="U:\Projektarbeit\Präsentation\img\UseCasePN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0230" y="1020271"/>
            <a:ext cx="5802277" cy="3516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2978533"/>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3" end="3"/>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915"/>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349994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smtClean="0">
                <a:effectLst>
                  <a:outerShdw blurRad="38100" dist="38100" dir="2700000" algn="tl">
                    <a:srgbClr val="000000">
                      <a:alpha val="43137"/>
                    </a:srgbClr>
                  </a:outerShdw>
                </a:effectLst>
              </a:rPr>
              <a:t>Projektphasen</a:t>
            </a:r>
            <a:endParaRPr lang="de-DE" sz="2000" b="0" dirty="0">
              <a:effectLst>
                <a:outerShdw blurRad="38100" dist="38100" dir="2700000" algn="tl">
                  <a:srgbClr val="000000">
                    <a:alpha val="43137"/>
                  </a:srgbClr>
                </a:outerShdw>
              </a:effectLst>
            </a:endParaRP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rgbClr val="A9B5C7"/>
                </a:solidFill>
              </a:rPr>
              <a:t>Vorstellung</a:t>
            </a:r>
          </a:p>
          <a:p>
            <a:pPr marL="228600" indent="-228600">
              <a:buFont typeface="+mj-lt"/>
              <a:buAutoNum type="arabicPeriod"/>
            </a:pPr>
            <a:r>
              <a:rPr lang="de-DE" dirty="0">
                <a:solidFill>
                  <a:srgbClr val="A9B5C7"/>
                </a:solidFill>
              </a:rPr>
              <a:t>Thematik</a:t>
            </a:r>
            <a:endParaRPr lang="de-DE" dirty="0">
              <a:solidFill>
                <a:srgbClr val="A9B5C7"/>
              </a:solidFill>
            </a:endParaRPr>
          </a:p>
          <a:p>
            <a:pPr marL="228600" indent="-228600">
              <a:buFont typeface="+mj-lt"/>
              <a:buAutoNum type="arabicPeriod"/>
            </a:pPr>
            <a:r>
              <a:rPr lang="de-DE" dirty="0" smtClean="0">
                <a:solidFill>
                  <a:schemeClr val="tx2"/>
                </a:solidFill>
              </a:rPr>
              <a:t>Analyse</a:t>
            </a:r>
            <a:endParaRPr lang="de-DE" dirty="0" smtClean="0">
              <a:solidFill>
                <a:schemeClr val="tx2"/>
              </a:solidFill>
            </a:endParaRPr>
          </a:p>
          <a:p>
            <a:pPr marL="228600" indent="-228600">
              <a:buFont typeface="+mj-lt"/>
              <a:buAutoNum type="arabicPeriod"/>
            </a:pPr>
            <a:r>
              <a:rPr lang="de-DE" dirty="0" smtClean="0">
                <a:solidFill>
                  <a:srgbClr val="A9B5C7"/>
                </a:solidFill>
              </a:rPr>
              <a:t>Entwurf</a:t>
            </a:r>
          </a:p>
          <a:p>
            <a:pPr marL="228600" indent="-228600">
              <a:buFont typeface="+mj-lt"/>
              <a:buAutoNum type="arabicPeriod"/>
            </a:pPr>
            <a:r>
              <a:rPr lang="de-DE" dirty="0" smtClean="0">
                <a:solidFill>
                  <a:srgbClr val="A9B5C7"/>
                </a:solidFill>
              </a:rPr>
              <a:t>Implementierung</a:t>
            </a:r>
          </a:p>
          <a:p>
            <a:pPr marL="228600" indent="-228600">
              <a:buFont typeface="+mj-lt"/>
              <a:buAutoNum type="arabicPeriod"/>
            </a:pPr>
            <a:r>
              <a:rPr lang="de-DE" dirty="0" smtClean="0">
                <a:solidFill>
                  <a:srgbClr val="A9B5C7"/>
                </a:solidFill>
              </a:rPr>
              <a:t>Fazit</a:t>
            </a:r>
          </a:p>
          <a:p>
            <a:pPr marL="228600" indent="-228600">
              <a:buFont typeface="+mj-lt"/>
              <a:buAutoNum type="arabicPeriod"/>
            </a:pPr>
            <a:r>
              <a:rPr lang="de-DE" dirty="0">
                <a:solidFill>
                  <a:srgbClr val="A9B5C7"/>
                </a:solidFill>
              </a:rPr>
              <a:t>Live Demo (evtl</a:t>
            </a:r>
            <a:r>
              <a:rPr lang="de-DE" dirty="0" smtClean="0">
                <a:solidFill>
                  <a:srgbClr val="A9B5C7"/>
                </a:solidFill>
              </a:rPr>
              <a:t>.)</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8</a:t>
            </a:fld>
            <a:endParaRPr lang="de-DE" noProof="0" dirty="0"/>
          </a:p>
        </p:txBody>
      </p:sp>
      <p:graphicFrame>
        <p:nvGraphicFramePr>
          <p:cNvPr id="12" name="Inhaltsplatzhalter 11"/>
          <p:cNvGraphicFramePr>
            <a:graphicFrameLocks noGrp="1"/>
          </p:cNvGraphicFramePr>
          <p:nvPr>
            <p:ph idx="1"/>
            <p:extLst>
              <p:ext uri="{D42A27DB-BD31-4B8C-83A1-F6EECF244321}">
                <p14:modId xmlns:p14="http://schemas.microsoft.com/office/powerpoint/2010/main" val="3228738562"/>
              </p:ext>
            </p:extLst>
          </p:nvPr>
        </p:nvGraphicFramePr>
        <p:xfrm>
          <a:off x="179388" y="1008063"/>
          <a:ext cx="5400675" cy="388778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52827308"/>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3" end="3"/>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2" name="Picture 10" descr="W:\Infopool\Bereiche\Unternehmenskommunikation\Corporate Design\01_PowerPoint Vorlagen_Templates\03_Bilddatenbank_Picture database\Kapiteltrennseiten_Chapter divider\Berenberg_Praesentationshintergrund-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915"/>
            <a:ext cx="7561263" cy="5352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4148831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algn="ctr"/>
            <a:r>
              <a:rPr lang="de-DE" sz="2000" b="0" dirty="0" smtClean="0">
                <a:effectLst>
                  <a:outerShdw blurRad="38100" dist="38100" dir="2700000" algn="tl">
                    <a:srgbClr val="000000">
                      <a:alpha val="43137"/>
                    </a:srgbClr>
                  </a:outerShdw>
                </a:effectLst>
              </a:rPr>
              <a:t>Projektkosten</a:t>
            </a:r>
            <a:endParaRPr lang="de-DE" sz="2000" b="0" dirty="0">
              <a:effectLst>
                <a:outerShdw blurRad="38100" dist="38100" dir="2700000" algn="tl">
                  <a:srgbClr val="000000">
                    <a:alpha val="43137"/>
                  </a:srgbClr>
                </a:outerShdw>
              </a:effectLst>
            </a:endParaRPr>
          </a:p>
        </p:txBody>
      </p:sp>
      <p:sp>
        <p:nvSpPr>
          <p:cNvPr id="6" name="Inhaltsplatzhalter 5"/>
          <p:cNvSpPr>
            <a:spLocks noGrp="1"/>
          </p:cNvSpPr>
          <p:nvPr>
            <p:ph sz="quarter" idx="13"/>
          </p:nvPr>
        </p:nvSpPr>
        <p:spPr/>
        <p:txBody>
          <a:bodyPr/>
          <a:lstStyle/>
          <a:p>
            <a:r>
              <a:rPr lang="de-DE" b="1" u="sng" dirty="0" smtClean="0">
                <a:solidFill>
                  <a:schemeClr val="tx2"/>
                </a:solidFill>
              </a:rPr>
              <a:t>Agenda:</a:t>
            </a:r>
          </a:p>
          <a:p>
            <a:pPr marL="228600" indent="-228600">
              <a:buFont typeface="+mj-lt"/>
              <a:buAutoNum type="arabicPeriod"/>
            </a:pPr>
            <a:r>
              <a:rPr lang="de-DE" dirty="0">
                <a:solidFill>
                  <a:srgbClr val="A9B5C7"/>
                </a:solidFill>
              </a:rPr>
              <a:t>Vorstellung</a:t>
            </a:r>
          </a:p>
          <a:p>
            <a:pPr marL="228600" indent="-228600">
              <a:buFont typeface="+mj-lt"/>
              <a:buAutoNum type="arabicPeriod"/>
            </a:pPr>
            <a:r>
              <a:rPr lang="de-DE" dirty="0">
                <a:solidFill>
                  <a:srgbClr val="A9B5C7"/>
                </a:solidFill>
              </a:rPr>
              <a:t>Thematik</a:t>
            </a:r>
            <a:endParaRPr lang="de-DE" dirty="0">
              <a:solidFill>
                <a:srgbClr val="A9B5C7"/>
              </a:solidFill>
            </a:endParaRPr>
          </a:p>
          <a:p>
            <a:pPr marL="228600" indent="-228600">
              <a:buFont typeface="+mj-lt"/>
              <a:buAutoNum type="arabicPeriod"/>
            </a:pPr>
            <a:r>
              <a:rPr lang="de-DE" dirty="0" smtClean="0">
                <a:solidFill>
                  <a:schemeClr val="tx2"/>
                </a:solidFill>
              </a:rPr>
              <a:t>Analyse</a:t>
            </a:r>
            <a:endParaRPr lang="de-DE" dirty="0" smtClean="0">
              <a:solidFill>
                <a:schemeClr val="tx2"/>
              </a:solidFill>
            </a:endParaRPr>
          </a:p>
          <a:p>
            <a:pPr marL="228600" indent="-228600">
              <a:buFont typeface="+mj-lt"/>
              <a:buAutoNum type="arabicPeriod"/>
            </a:pPr>
            <a:r>
              <a:rPr lang="de-DE" dirty="0" smtClean="0">
                <a:solidFill>
                  <a:srgbClr val="A9B5C7"/>
                </a:solidFill>
              </a:rPr>
              <a:t>Entwurf</a:t>
            </a:r>
          </a:p>
          <a:p>
            <a:pPr marL="228600" indent="-228600">
              <a:buFont typeface="+mj-lt"/>
              <a:buAutoNum type="arabicPeriod"/>
            </a:pPr>
            <a:r>
              <a:rPr lang="de-DE" dirty="0" smtClean="0">
                <a:solidFill>
                  <a:srgbClr val="A9B5C7"/>
                </a:solidFill>
              </a:rPr>
              <a:t>Implementierung</a:t>
            </a:r>
          </a:p>
          <a:p>
            <a:pPr marL="228600" indent="-228600">
              <a:buFont typeface="+mj-lt"/>
              <a:buAutoNum type="arabicPeriod"/>
            </a:pPr>
            <a:r>
              <a:rPr lang="de-DE" dirty="0" smtClean="0">
                <a:solidFill>
                  <a:srgbClr val="A9B5C7"/>
                </a:solidFill>
              </a:rPr>
              <a:t>Fazit</a:t>
            </a:r>
          </a:p>
          <a:p>
            <a:pPr marL="228600" indent="-228600">
              <a:buFont typeface="+mj-lt"/>
              <a:buAutoNum type="arabicPeriod"/>
            </a:pPr>
            <a:r>
              <a:rPr lang="de-DE" dirty="0">
                <a:solidFill>
                  <a:srgbClr val="A9B5C7"/>
                </a:solidFill>
              </a:rPr>
              <a:t>Live Demo (evtl</a:t>
            </a:r>
            <a:r>
              <a:rPr lang="de-DE" dirty="0" smtClean="0">
                <a:solidFill>
                  <a:srgbClr val="A9B5C7"/>
                </a:solidFill>
              </a:rPr>
              <a:t>.)</a:t>
            </a:r>
            <a:endParaRPr lang="de-DE" dirty="0">
              <a:solidFill>
                <a:schemeClr val="tx2"/>
              </a:solidFill>
            </a:endParaRPr>
          </a:p>
        </p:txBody>
      </p:sp>
      <p:sp>
        <p:nvSpPr>
          <p:cNvPr id="3" name="Datumsplatzhalter 2"/>
          <p:cNvSpPr>
            <a:spLocks noGrp="1"/>
          </p:cNvSpPr>
          <p:nvPr>
            <p:ph type="dt" sz="half" idx="14"/>
          </p:nvPr>
        </p:nvSpPr>
        <p:spPr/>
        <p:txBody>
          <a:bodyPr/>
          <a:lstStyle/>
          <a:p>
            <a:fld id="{5A607C75-7E5E-49DD-BFE0-283F617009BA}" type="datetime1">
              <a:rPr lang="de-DE" noProof="0" smtClean="0"/>
              <a:t>12.05.2017</a:t>
            </a:fld>
            <a:endParaRPr lang="de-DE" noProof="0" dirty="0"/>
          </a:p>
        </p:txBody>
      </p:sp>
      <p:sp>
        <p:nvSpPr>
          <p:cNvPr id="8" name="Fußzeilenplatzhalter 7"/>
          <p:cNvSpPr>
            <a:spLocks noGrp="1"/>
          </p:cNvSpPr>
          <p:nvPr>
            <p:ph type="ftr" sz="quarter" idx="15"/>
          </p:nvPr>
        </p:nvSpPr>
        <p:spPr/>
        <p:txBody>
          <a:bodyPr/>
          <a:lstStyle/>
          <a:p>
            <a:r>
              <a:rPr lang="de-DE" noProof="0" dirty="0" smtClean="0"/>
              <a:t>LSC - Live Support Chat</a:t>
            </a:r>
            <a:endParaRPr lang="de-DE" noProof="0" dirty="0"/>
          </a:p>
        </p:txBody>
      </p:sp>
      <p:sp>
        <p:nvSpPr>
          <p:cNvPr id="9" name="Foliennummernplatzhalter 8"/>
          <p:cNvSpPr>
            <a:spLocks noGrp="1"/>
          </p:cNvSpPr>
          <p:nvPr>
            <p:ph type="sldNum" sz="quarter" idx="16"/>
          </p:nvPr>
        </p:nvSpPr>
        <p:spPr/>
        <p:txBody>
          <a:bodyPr/>
          <a:lstStyle/>
          <a:p>
            <a:fld id="{D7FBF016-173F-4D13-AB5B-81861F2E6151}" type="slidenum">
              <a:rPr lang="de-DE" noProof="0" smtClean="0"/>
              <a:pPr/>
              <a:t>9</a:t>
            </a:fld>
            <a:endParaRPr lang="de-DE" noProof="0" dirty="0"/>
          </a:p>
        </p:txBody>
      </p:sp>
      <p:graphicFrame>
        <p:nvGraphicFramePr>
          <p:cNvPr id="11" name="Inhaltsplatzhalter 10"/>
          <p:cNvGraphicFramePr>
            <a:graphicFrameLocks noGrp="1"/>
          </p:cNvGraphicFramePr>
          <p:nvPr>
            <p:ph idx="1"/>
            <p:extLst>
              <p:ext uri="{D42A27DB-BD31-4B8C-83A1-F6EECF244321}">
                <p14:modId xmlns:p14="http://schemas.microsoft.com/office/powerpoint/2010/main" val="3168004045"/>
              </p:ext>
            </p:extLst>
          </p:nvPr>
        </p:nvGraphicFramePr>
        <p:xfrm>
          <a:off x="179388" y="1008435"/>
          <a:ext cx="5400676" cy="1538868"/>
        </p:xfrm>
        <a:graphic>
          <a:graphicData uri="http://schemas.openxmlformats.org/drawingml/2006/table">
            <a:tbl>
              <a:tblPr firstRow="1" bandRow="1">
                <a:tableStyleId>{7D95DDBC-5C31-40A9-B56D-BDF15E579DC0}</a:tableStyleId>
              </a:tblPr>
              <a:tblGrid>
                <a:gridCol w="1152971"/>
                <a:gridCol w="1547367"/>
                <a:gridCol w="1350169"/>
                <a:gridCol w="1350169"/>
              </a:tblGrid>
              <a:tr h="370468">
                <a:tc>
                  <a:txBody>
                    <a:bodyPr/>
                    <a:lstStyle/>
                    <a:p>
                      <a:r>
                        <a:rPr lang="de-DE" dirty="0" smtClean="0"/>
                        <a:t>Vorgang</a:t>
                      </a:r>
                      <a:endParaRPr lang="de-DE" dirty="0"/>
                    </a:p>
                  </a:txBody>
                  <a:tcPr/>
                </a:tc>
                <a:tc>
                  <a:txBody>
                    <a:bodyPr/>
                    <a:lstStyle/>
                    <a:p>
                      <a:r>
                        <a:rPr lang="de-DE" dirty="0" smtClean="0"/>
                        <a:t>Mitarbeiter</a:t>
                      </a:r>
                      <a:endParaRPr lang="de-DE" dirty="0"/>
                    </a:p>
                  </a:txBody>
                  <a:tcPr/>
                </a:tc>
                <a:tc>
                  <a:txBody>
                    <a:bodyPr/>
                    <a:lstStyle/>
                    <a:p>
                      <a:r>
                        <a:rPr lang="de-DE" dirty="0" smtClean="0"/>
                        <a:t>Zeit</a:t>
                      </a:r>
                      <a:endParaRPr lang="de-DE" dirty="0"/>
                    </a:p>
                  </a:txBody>
                  <a:tcPr/>
                </a:tc>
                <a:tc>
                  <a:txBody>
                    <a:bodyPr/>
                    <a:lstStyle/>
                    <a:p>
                      <a:r>
                        <a:rPr lang="de-DE" dirty="0" smtClean="0"/>
                        <a:t>Gesamtkosten</a:t>
                      </a:r>
                      <a:endParaRPr lang="de-DE" dirty="0"/>
                    </a:p>
                  </a:txBody>
                  <a:tcPr/>
                </a:tc>
              </a:tr>
              <a:tr h="370840">
                <a:tc>
                  <a:txBody>
                    <a:bodyPr/>
                    <a:lstStyle/>
                    <a:p>
                      <a:r>
                        <a:rPr lang="de-DE" dirty="0" smtClean="0"/>
                        <a:t>Entwicklung</a:t>
                      </a:r>
                      <a:endParaRPr lang="de-DE" dirty="0"/>
                    </a:p>
                  </a:txBody>
                  <a:tcPr/>
                </a:tc>
                <a:tc>
                  <a:txBody>
                    <a:bodyPr/>
                    <a:lstStyle/>
                    <a:p>
                      <a:r>
                        <a:rPr lang="de-DE" dirty="0" smtClean="0"/>
                        <a:t>1x Auszubildender</a:t>
                      </a:r>
                      <a:endParaRPr lang="de-DE" dirty="0"/>
                    </a:p>
                  </a:txBody>
                  <a:tcPr/>
                </a:tc>
                <a:tc>
                  <a:txBody>
                    <a:bodyPr/>
                    <a:lstStyle/>
                    <a:p>
                      <a:r>
                        <a:rPr lang="de-DE" dirty="0" smtClean="0"/>
                        <a:t>70h</a:t>
                      </a:r>
                      <a:endParaRPr lang="de-DE" dirty="0"/>
                    </a:p>
                  </a:txBody>
                  <a:tcPr/>
                </a:tc>
                <a:tc>
                  <a:txBody>
                    <a:bodyPr/>
                    <a:lstStyle/>
                    <a:p>
                      <a:r>
                        <a:rPr lang="de-DE" dirty="0" smtClean="0"/>
                        <a:t>0€</a:t>
                      </a:r>
                    </a:p>
                  </a:txBody>
                  <a:tcPr/>
                </a:tc>
              </a:tr>
              <a:tr h="370840">
                <a:tc>
                  <a:txBody>
                    <a:bodyPr/>
                    <a:lstStyle/>
                    <a:p>
                      <a:r>
                        <a:rPr lang="de-DE" dirty="0" smtClean="0"/>
                        <a:t>Test</a:t>
                      </a:r>
                      <a:endParaRPr lang="de-DE" dirty="0"/>
                    </a:p>
                  </a:txBody>
                  <a:tcPr/>
                </a:tc>
                <a:tc>
                  <a:txBody>
                    <a:bodyPr/>
                    <a:lstStyle/>
                    <a:p>
                      <a:r>
                        <a:rPr lang="de-DE" dirty="0" smtClean="0"/>
                        <a:t>2x Auszubildender</a:t>
                      </a:r>
                    </a:p>
                    <a:p>
                      <a:r>
                        <a:rPr lang="de-DE" dirty="0" smtClean="0"/>
                        <a:t>2x Entwickler</a:t>
                      </a:r>
                      <a:endParaRPr lang="de-DE" dirty="0"/>
                    </a:p>
                  </a:txBody>
                  <a:tcPr/>
                </a:tc>
                <a:tc>
                  <a:txBody>
                    <a:bodyPr/>
                    <a:lstStyle/>
                    <a:p>
                      <a:r>
                        <a:rPr lang="de-DE" dirty="0" smtClean="0"/>
                        <a:t>4h</a:t>
                      </a:r>
                      <a:endParaRPr lang="de-DE" dirty="0"/>
                    </a:p>
                  </a:txBody>
                  <a:tcPr/>
                </a:tc>
                <a:tc>
                  <a:txBody>
                    <a:bodyPr/>
                    <a:lstStyle/>
                    <a:p>
                      <a:r>
                        <a:rPr lang="de-DE" dirty="0" smtClean="0"/>
                        <a:t>304€</a:t>
                      </a:r>
                      <a:endParaRPr lang="de-DE" dirty="0"/>
                    </a:p>
                  </a:txBody>
                  <a:tcPr/>
                </a:tc>
              </a:tr>
              <a:tr h="370840">
                <a:tc>
                  <a:txBody>
                    <a:bodyPr/>
                    <a:lstStyle/>
                    <a:p>
                      <a:pPr marL="0" algn="l" defTabSz="736549" rtl="0" eaLnBrk="1" latinLnBrk="0" hangingPunct="1"/>
                      <a:r>
                        <a:rPr lang="de-DE" sz="1100" kern="1200" dirty="0" smtClean="0">
                          <a:solidFill>
                            <a:schemeClr val="lt1"/>
                          </a:solidFill>
                          <a:latin typeface="+mn-lt"/>
                          <a:ea typeface="+mn-ea"/>
                          <a:cs typeface="+mn-cs"/>
                        </a:rPr>
                        <a:t>Gesamt</a:t>
                      </a:r>
                      <a:endParaRPr lang="de-DE" sz="1100" kern="1200" dirty="0">
                        <a:solidFill>
                          <a:schemeClr val="lt1"/>
                        </a:solidFill>
                        <a:latin typeface="+mn-lt"/>
                        <a:ea typeface="+mn-ea"/>
                        <a:cs typeface="+mn-cs"/>
                      </a:endParaRPr>
                    </a:p>
                  </a:txBody>
                  <a:tcPr>
                    <a:solidFill>
                      <a:schemeClr val="accent1"/>
                    </a:solidFill>
                  </a:tcPr>
                </a:tc>
                <a:tc>
                  <a:txBody>
                    <a:bodyPr/>
                    <a:lstStyle/>
                    <a:p>
                      <a:pPr marL="0" algn="l" defTabSz="736549" rtl="0" eaLnBrk="1" latinLnBrk="0" hangingPunct="1"/>
                      <a:endParaRPr lang="de-DE" sz="1100" kern="1200" dirty="0">
                        <a:solidFill>
                          <a:schemeClr val="lt1"/>
                        </a:solidFill>
                        <a:latin typeface="+mn-lt"/>
                        <a:ea typeface="+mn-ea"/>
                        <a:cs typeface="+mn-cs"/>
                      </a:endParaRPr>
                    </a:p>
                  </a:txBody>
                  <a:tcPr>
                    <a:solidFill>
                      <a:schemeClr val="accent1"/>
                    </a:solidFill>
                  </a:tcPr>
                </a:tc>
                <a:tc>
                  <a:txBody>
                    <a:bodyPr/>
                    <a:lstStyle/>
                    <a:p>
                      <a:pPr marL="0" algn="l" defTabSz="736549" rtl="0" eaLnBrk="1" latinLnBrk="0" hangingPunct="1"/>
                      <a:endParaRPr lang="de-DE" sz="1100" kern="1200" dirty="0">
                        <a:solidFill>
                          <a:schemeClr val="lt1"/>
                        </a:solidFill>
                        <a:latin typeface="+mn-lt"/>
                        <a:ea typeface="+mn-ea"/>
                        <a:cs typeface="+mn-cs"/>
                      </a:endParaRPr>
                    </a:p>
                  </a:txBody>
                  <a:tcPr>
                    <a:solidFill>
                      <a:schemeClr val="accent1"/>
                    </a:solidFill>
                  </a:tcPr>
                </a:tc>
                <a:tc>
                  <a:txBody>
                    <a:bodyPr/>
                    <a:lstStyle/>
                    <a:p>
                      <a:pPr marL="0" algn="l" defTabSz="736549" rtl="0" eaLnBrk="1" latinLnBrk="0" hangingPunct="1"/>
                      <a:r>
                        <a:rPr lang="de-DE" sz="1100" kern="1200" dirty="0" smtClean="0">
                          <a:solidFill>
                            <a:schemeClr val="lt1"/>
                          </a:solidFill>
                          <a:latin typeface="+mn-lt"/>
                          <a:ea typeface="+mn-ea"/>
                          <a:cs typeface="+mn-cs"/>
                        </a:rPr>
                        <a:t>304€</a:t>
                      </a:r>
                      <a:endParaRPr lang="de-DE" sz="1100" kern="1200" dirty="0">
                        <a:solidFill>
                          <a:schemeClr val="lt1"/>
                        </a:solidFill>
                        <a:latin typeface="+mn-lt"/>
                        <a:ea typeface="+mn-ea"/>
                        <a:cs typeface="+mn-cs"/>
                      </a:endParaRPr>
                    </a:p>
                  </a:txBody>
                  <a:tcPr>
                    <a:solidFill>
                      <a:schemeClr val="accent1"/>
                    </a:solidFill>
                  </a:tcPr>
                </a:tc>
              </a:tr>
            </a:tbl>
          </a:graphicData>
        </a:graphic>
      </p:graphicFrame>
    </p:spTree>
    <p:extLst>
      <p:ext uri="{BB962C8B-B14F-4D97-AF65-F5344CB8AC3E}">
        <p14:creationId xmlns:p14="http://schemas.microsoft.com/office/powerpoint/2010/main" val="4168355159"/>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2000" fill="hold"/>
                                        <p:tgtEl>
                                          <p:spTgt spid="6">
                                            <p:txEl>
                                              <p:pRg st="3" end="3"/>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Go_Template_D_A5">
  <a:themeElements>
    <a:clrScheme name="Berenberg Bank">
      <a:dk1>
        <a:sysClr val="windowText" lastClr="000000"/>
      </a:dk1>
      <a:lt1>
        <a:sysClr val="window" lastClr="FFFFFF"/>
      </a:lt1>
      <a:dk2>
        <a:srgbClr val="C6562C"/>
      </a:dk2>
      <a:lt2>
        <a:srgbClr val="893B1F"/>
      </a:lt2>
      <a:accent1>
        <a:srgbClr val="576A85"/>
      </a:accent1>
      <a:accent2>
        <a:srgbClr val="778AA7"/>
      </a:accent2>
      <a:accent3>
        <a:srgbClr val="A9B5C7"/>
      </a:accent3>
      <a:accent4>
        <a:srgbClr val="CCD3DE"/>
      </a:accent4>
      <a:accent5>
        <a:srgbClr val="75726F"/>
      </a:accent5>
      <a:accent6>
        <a:srgbClr val="9D9A97"/>
      </a:accent6>
      <a:hlink>
        <a:srgbClr val="75726F"/>
      </a:hlink>
      <a:folHlink>
        <a:srgbClr val="9D9A97"/>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err="1" smtClean="0"/>
        </a:defPPr>
      </a:lstStyle>
    </a:txDef>
  </a:objectDefaults>
  <a:extraClrSchemeLst/>
  <a:custClrLst>
    <a:custClr name="Grau 100%">
      <a:srgbClr val="75726F"/>
    </a:custClr>
    <a:custClr name="Dunkelorange">
      <a:srgbClr val="893B1F"/>
    </a:custClr>
    <a:custClr name="Blau 100%">
      <a:srgbClr val="576A85"/>
    </a:custClr>
    <a:custClr name="Gelb">
      <a:srgbClr val="F8C019"/>
    </a:custClr>
    <a:custClr name="Grün">
      <a:srgbClr val="569175"/>
    </a:custClr>
    <a:custClr>
      <a:srgbClr val="FFFFFF"/>
    </a:custClr>
    <a:custClr>
      <a:srgbClr val="FFFFFF"/>
    </a:custClr>
    <a:custClr>
      <a:srgbClr val="FFFFFF"/>
    </a:custClr>
    <a:custClr>
      <a:srgbClr val="FFFFFF"/>
    </a:custClr>
    <a:custClr>
      <a:srgbClr val="FFFFFF"/>
    </a:custClr>
    <a:custClr name="Grau 80%">
      <a:srgbClr val="9D9A97"/>
    </a:custClr>
    <a:custClr name="Orange 100%">
      <a:srgbClr val="C6562C"/>
    </a:custClr>
    <a:custClr name="Blau 80%">
      <a:srgbClr val="778AA7"/>
    </a:custClr>
    <a:custClr name="Beige">
      <a:srgbClr val="F0E6CD"/>
    </a:custClr>
    <a:custClr>
      <a:srgbClr val="FFFFFF"/>
    </a:custClr>
    <a:custClr>
      <a:srgbClr val="FFFFFF"/>
    </a:custClr>
    <a:custClr>
      <a:srgbClr val="FFFFFF"/>
    </a:custClr>
    <a:custClr>
      <a:srgbClr val="FFFFFF"/>
    </a:custClr>
    <a:custClr>
      <a:srgbClr val="FFFFFF"/>
    </a:custClr>
    <a:custClr>
      <a:srgbClr val="FFFFFF"/>
    </a:custClr>
    <a:custClr name="Grau 60%">
      <a:srgbClr val="BAB7B4"/>
    </a:custClr>
    <a:custClr name="Orange 80%">
      <a:srgbClr val="DE8A6C"/>
    </a:custClr>
    <a:custClr name="Blau 60%">
      <a:srgbClr val="A9B5C7"/>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au 40%">
      <a:srgbClr val="DAD9D8"/>
    </a:custClr>
    <a:custClr name="Orange 60%">
      <a:srgbClr val="E7AA95"/>
    </a:custClr>
    <a:custClr name="Blau 40%">
      <a:srgbClr val="CCD3D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au 20%">
      <a:srgbClr val="EDECEB"/>
    </a:custClr>
    <a:custClr name="Orange 40%">
      <a:srgbClr val="F2D2C6"/>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theme>
</file>

<file path=ppt/theme/theme2.xml><?xml version="1.0" encoding="utf-8"?>
<a:theme xmlns:a="http://schemas.openxmlformats.org/drawingml/2006/main" name="Larissa">
  <a:themeElements>
    <a:clrScheme name="Berenberg Bank">
      <a:dk1>
        <a:sysClr val="windowText" lastClr="000000"/>
      </a:dk1>
      <a:lt1>
        <a:sysClr val="window" lastClr="FFFFFF"/>
      </a:lt1>
      <a:dk2>
        <a:srgbClr val="C6562C"/>
      </a:dk2>
      <a:lt2>
        <a:srgbClr val="893B1F"/>
      </a:lt2>
      <a:accent1>
        <a:srgbClr val="576A85"/>
      </a:accent1>
      <a:accent2>
        <a:srgbClr val="778AA7"/>
      </a:accent2>
      <a:accent3>
        <a:srgbClr val="A9B5C7"/>
      </a:accent3>
      <a:accent4>
        <a:srgbClr val="CCD3DE"/>
      </a:accent4>
      <a:accent5>
        <a:srgbClr val="75726F"/>
      </a:accent5>
      <a:accent6>
        <a:srgbClr val="9D9A97"/>
      </a:accent6>
      <a:hlink>
        <a:srgbClr val="75726F"/>
      </a:hlink>
      <a:folHlink>
        <a:srgbClr val="9D9A97"/>
      </a:folHlink>
    </a:clrScheme>
    <a:fontScheme name="Berenberg Bank">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Larissa">
  <a:themeElements>
    <a:clrScheme name="Berenberg Bank">
      <a:dk1>
        <a:sysClr val="windowText" lastClr="000000"/>
      </a:dk1>
      <a:lt1>
        <a:sysClr val="window" lastClr="FFFFFF"/>
      </a:lt1>
      <a:dk2>
        <a:srgbClr val="C6562C"/>
      </a:dk2>
      <a:lt2>
        <a:srgbClr val="893B1F"/>
      </a:lt2>
      <a:accent1>
        <a:srgbClr val="576A85"/>
      </a:accent1>
      <a:accent2>
        <a:srgbClr val="778AA7"/>
      </a:accent2>
      <a:accent3>
        <a:srgbClr val="A9B5C7"/>
      </a:accent3>
      <a:accent4>
        <a:srgbClr val="CCD3DE"/>
      </a:accent4>
      <a:accent5>
        <a:srgbClr val="75726F"/>
      </a:accent5>
      <a:accent6>
        <a:srgbClr val="9D9A97"/>
      </a:accent6>
      <a:hlink>
        <a:srgbClr val="75726F"/>
      </a:hlink>
      <a:folHlink>
        <a:srgbClr val="9D9A97"/>
      </a:folHlink>
    </a:clrScheme>
    <a:fontScheme name="Berenberg Bank">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docProps/app.xml><?xml version="1.0" encoding="utf-8"?>
<Properties xmlns="http://schemas.openxmlformats.org/officeDocument/2006/extended-properties" xmlns:vt="http://schemas.openxmlformats.org/officeDocument/2006/docPropsVTypes">
  <Template>BeGo_Template_D_A5</Template>
  <TotalTime>0</TotalTime>
  <Words>593</Words>
  <Application>Microsoft Office PowerPoint</Application>
  <PresentationFormat>Benutzerdefiniert</PresentationFormat>
  <Paragraphs>279</Paragraphs>
  <Slides>16</Slides>
  <Notes>1</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18" baseType="lpstr">
      <vt:lpstr>BeGo_Template_D_A5</vt:lpstr>
      <vt:lpstr>think-cell Folie</vt:lpstr>
      <vt:lpstr>LSC - Live Support Chat</vt:lpstr>
      <vt:lpstr>Das Unternehmen</vt:lpstr>
      <vt:lpstr>Bego IT – der interne IT Dienstleister</vt:lpstr>
      <vt:lpstr>Projektbeschreibung</vt:lpstr>
      <vt:lpstr>Projektbeschreibung</vt:lpstr>
      <vt:lpstr>Projektziel</vt:lpstr>
      <vt:lpstr>Use Case</vt:lpstr>
      <vt:lpstr>Projektphasen</vt:lpstr>
      <vt:lpstr>Projektkosten</vt:lpstr>
      <vt:lpstr>Amortisation / Nutzen</vt:lpstr>
      <vt:lpstr>Verwendete Sprachen</vt:lpstr>
      <vt:lpstr>SignalR</vt:lpstr>
      <vt:lpstr>Aktivitätsdiagramm</vt:lpstr>
      <vt:lpstr>Laden des Modularen Chats</vt:lpstr>
      <vt:lpstr>Fazit</vt:lpstr>
      <vt:lpstr>Live Demo (Evtl.)</vt:lpstr>
    </vt:vector>
  </TitlesOfParts>
  <Company>Berenber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SC - Live Support Chat</dc:title>
  <dc:subject>[Untertitel der Präsentation]</dc:subject>
  <dc:creator>Grieger, Niklas</dc:creator>
  <dc:description>Optimiert für MS PowerPoint 2010.</dc:description>
  <cp:lastModifiedBy>Grieger, Niklas</cp:lastModifiedBy>
  <cp:revision>49</cp:revision>
  <cp:lastPrinted>2013-03-21T16:05:01Z</cp:lastPrinted>
  <dcterms:created xsi:type="dcterms:W3CDTF">2017-05-11T08:04:29Z</dcterms:created>
  <dcterms:modified xsi:type="dcterms:W3CDTF">2017-05-12T13:23:30Z</dcterms:modified>
</cp:coreProperties>
</file>